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6.xml" ContentType="application/vnd.openxmlformats-officedocument.theme+xml"/>
  <Override PartName="/ppt/tags/tag10.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4200" r:id="rId4"/>
    <p:sldMasterId id="2147484246" r:id="rId5"/>
    <p:sldMasterId id="2147484270" r:id="rId6"/>
    <p:sldMasterId id="2147484279" r:id="rId7"/>
    <p:sldMasterId id="2147484305" r:id="rId8"/>
    <p:sldMasterId id="2147484334" r:id="rId9"/>
  </p:sldMasterIdLst>
  <p:notesMasterIdLst>
    <p:notesMasterId r:id="rId30"/>
  </p:notesMasterIdLst>
  <p:handoutMasterIdLst>
    <p:handoutMasterId r:id="rId31"/>
  </p:handoutMasterIdLst>
  <p:sldIdLst>
    <p:sldId id="259" r:id="rId10"/>
    <p:sldId id="2147482770" r:id="rId11"/>
    <p:sldId id="2147481224" r:id="rId12"/>
    <p:sldId id="2147481846" r:id="rId13"/>
    <p:sldId id="2147482747" r:id="rId14"/>
    <p:sldId id="2147482748" r:id="rId15"/>
    <p:sldId id="2147483100" r:id="rId16"/>
    <p:sldId id="256" r:id="rId17"/>
    <p:sldId id="258" r:id="rId18"/>
    <p:sldId id="262" r:id="rId19"/>
    <p:sldId id="2147482841" r:id="rId20"/>
    <p:sldId id="2147483115" r:id="rId21"/>
    <p:sldId id="272" r:id="rId22"/>
    <p:sldId id="2147483104" r:id="rId23"/>
    <p:sldId id="2147482843" r:id="rId24"/>
    <p:sldId id="2147482844" r:id="rId25"/>
    <p:sldId id="2147483109" r:id="rId26"/>
    <p:sldId id="2147483110" r:id="rId27"/>
    <p:sldId id="2147483111" r:id="rId28"/>
    <p:sldId id="2147482847" r:id="rId29"/>
  </p:sldIdLst>
  <p:sldSz cx="12192000" cy="6858000"/>
  <p:notesSz cx="6797675" cy="9926638"/>
  <p:embeddedFontLst>
    <p:embeddedFont>
      <p:font typeface="Neue Haas Grotesk Text Pro" panose="020F0502020204030204" pitchFamily="34" charset="0"/>
      <p:regular r:id="rId32"/>
      <p:bold r:id="rId33"/>
      <p:italic r:id="rId34"/>
      <p:boldItalic r:id="rId35"/>
    </p:embeddedFont>
    <p:embeddedFont>
      <p:font typeface="Tw Cen MT" panose="020B0602020104020603" pitchFamily="34" charset="0"/>
      <p:regular r:id="rId36"/>
      <p:bold r:id="rId37"/>
      <p:italic r:id="rId38"/>
      <p:boldItalic r:id="rId39"/>
    </p:embeddedFont>
    <p:embeddedFont>
      <p:font typeface="Ubuntu" panose="020B0504030602030204" pitchFamily="34" charset="0"/>
      <p:regular r:id="rId40"/>
      <p:bold r:id="rId41"/>
      <p:italic r:id="rId42"/>
      <p:boldItalic r:id="rId43"/>
    </p:embeddedFont>
    <p:embeddedFont>
      <p:font typeface="Ubuntu Light" panose="020B0304030602030204" pitchFamily="34" charset="0"/>
      <p:regular r:id="rId44"/>
      <p:italic r:id="rId45"/>
    </p:embeddedFont>
    <p:embeddedFont>
      <p:font typeface="Ubuntu Medium" panose="020B0604030602030204" pitchFamily="34" charset="0"/>
      <p:regular r:id="rId46"/>
      <p:italic r:id="rId47"/>
    </p:embeddedFont>
    <p:embeddedFont>
      <p:font typeface="Verdana" panose="020B0604030504040204" pitchFamily="34" charset="0"/>
      <p:regular r:id="rId48"/>
      <p:bold r:id="rId49"/>
      <p:italic r:id="rId50"/>
      <p:boldItalic r:id="rId51"/>
    </p:embeddedFont>
  </p:embeddedFontLst>
  <p:custDataLst>
    <p:tags r:id="rId5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orient="horz" pos="2886" userDrawn="1">
          <p15:clr>
            <a:srgbClr val="A4A3A4"/>
          </p15:clr>
        </p15:guide>
        <p15:guide id="19" pos="5609" userDrawn="1">
          <p15:clr>
            <a:srgbClr val="A4A3A4"/>
          </p15:clr>
        </p15:guide>
        <p15:guide id="20" pos="207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C37B"/>
    <a:srgbClr val="14596B"/>
    <a:srgbClr val="616585"/>
    <a:srgbClr val="F6F6F6"/>
    <a:srgbClr val="005482"/>
    <a:srgbClr val="272936"/>
    <a:srgbClr val="003857"/>
    <a:srgbClr val="E6E6E6"/>
    <a:srgbClr val="FF6327"/>
    <a:srgbClr val="CB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0F6379-F901-4DBD-B1C0-621E463A42B4}" v="58" dt="2025-05-26T12:34:58.03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52"/>
      </p:cViewPr>
      <p:guideLst>
        <p:guide orient="horz" pos="2886"/>
        <p:guide pos="5609"/>
        <p:guide pos="2071"/>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font" Target="fonts/font8.fntdata"/><Relationship Id="rId21" Type="http://schemas.openxmlformats.org/officeDocument/2006/relationships/slide" Target="slides/slide12.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font" Target="fonts/font16.fntdata"/><Relationship Id="rId50" Type="http://schemas.openxmlformats.org/officeDocument/2006/relationships/font" Target="fonts/font19.fntdata"/><Relationship Id="rId55"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font" Target="fonts/font14.fntdata"/><Relationship Id="rId53" Type="http://schemas.openxmlformats.org/officeDocument/2006/relationships/commentAuthors" Target="commentAuthors.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font" Target="fonts/font17.fntdata"/><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font" Target="fonts/font20.fntdata"/><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font" Target="fonts/font15.fntdata"/><Relationship Id="rId20" Type="http://schemas.openxmlformats.org/officeDocument/2006/relationships/slide" Target="slides/slide11.xml"/><Relationship Id="rId41" Type="http://schemas.openxmlformats.org/officeDocument/2006/relationships/font" Target="fonts/font10.fntdata"/><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font" Target="fonts/font5.fntdata"/><Relationship Id="rId49" Type="http://schemas.openxmlformats.org/officeDocument/2006/relationships/font" Target="fonts/font18.fntdata"/><Relationship Id="rId57" Type="http://schemas.openxmlformats.org/officeDocument/2006/relationships/tableStyles" Target="tableStyles.xml"/><Relationship Id="rId10" Type="http://schemas.openxmlformats.org/officeDocument/2006/relationships/slide" Target="slides/slide1.xml"/><Relationship Id="rId31" Type="http://schemas.openxmlformats.org/officeDocument/2006/relationships/handoutMaster" Target="handoutMasters/handoutMaster1.xml"/><Relationship Id="rId44" Type="http://schemas.openxmlformats.org/officeDocument/2006/relationships/font" Target="fonts/font13.fntdata"/><Relationship Id="rId52"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25/06/2025</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25/06/2025</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a:t>Insert comments</a:t>
            </a:r>
            <a:endParaRPr lang="pt-BR"/>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ex</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pt-B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7170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976304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GitHub Copilot is an AI-powered code assistant that helps developers write better code, faster. In this presentation, we will explore how to use GitHub Copilot on VSCode and its advantag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EE6867-DA9D-453A-9172-1C588B05F94B}"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967066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GitHub Copilot is a revolutionary code assistant that uses AI to help developers write better code, faster. It is powered by OpenAI's GPT (Generative Pre-trained Transformer) technology and can help developers with many programming languages. We will further discuss how it work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EE6867-DA9D-453A-9172-1C588B05F94B}"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826260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GitHub Copilot requires the latest version of VSCode and access to the Visual Studio Code Marketplace. We will ensure you have all the necessary prerequisites to use GitHub Copilo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EE6867-DA9D-453A-9172-1C588B05F94B}"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921509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The prompt is a powerful feature of GitHub Copilot that can help developers write code quickly and efficiently. Using the prompt, developers can provide a brief description of the code they want to generate, and GitHub Copilot uses this information to suggest relevant code snippets. With the help of OpenAI's GPT technology, GitHub Copilot can generate entire functions and classes based on context and prompt, saving developers a lot of time and effort. The generated code can be accepted or modified by the developer, allowing them to maintain full control over the code they writ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4C1C2D-39A3-44CA-911B-F9C3F2633A91}"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075405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6D41FB-6AAB-CC86-40E8-FE1F466CA7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99854F-FF72-D7C7-BDEB-6E18CA5782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F0C04A-1BE4-D29F-3073-CD2D3A2FD95A}"/>
              </a:ext>
            </a:extLst>
          </p:cNvPr>
          <p:cNvSpPr>
            <a:spLocks noGrp="1"/>
          </p:cNvSpPr>
          <p:nvPr>
            <p:ph type="body" idx="1"/>
          </p:nvPr>
        </p:nvSpPr>
        <p:spPr/>
        <p:txBody>
          <a:bodyPr/>
          <a:lstStyle/>
          <a:p>
            <a:r>
              <a:rPr lang="en-IN"/>
              <a:t>GitHub Copilot requires the latest version of VSCode and access to the Visual Studio Code Marketplace. We will ensure you have all the necessary prerequisites to use GitHub Copilot.</a:t>
            </a:r>
          </a:p>
        </p:txBody>
      </p:sp>
      <p:sp>
        <p:nvSpPr>
          <p:cNvPr id="4" name="Slide Number Placeholder 3">
            <a:extLst>
              <a:ext uri="{FF2B5EF4-FFF2-40B4-BE49-F238E27FC236}">
                <a16:creationId xmlns:a16="http://schemas.microsoft.com/office/drawing/2014/main" id="{4C3614E6-CA19-DA03-C2E8-2557251EEF9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EE6867-DA9D-453A-9172-1C588B05F94B}"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757951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5.xml"/><Relationship Id="rId1" Type="http://schemas.openxmlformats.org/officeDocument/2006/relationships/tags" Target="../tags/tag7.xml"/><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Master" Target="../slideMasters/slideMaster5.xml"/><Relationship Id="rId1" Type="http://schemas.openxmlformats.org/officeDocument/2006/relationships/tags" Target="../tags/tag8.xml"/><Relationship Id="rId5" Type="http://schemas.openxmlformats.org/officeDocument/2006/relationships/image" Target="../media/image14.emf"/><Relationship Id="rId4" Type="http://schemas.openxmlformats.org/officeDocument/2006/relationships/oleObject" Target="../embeddings/oleObject6.bin"/></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6.png"/><Relationship Id="rId3" Type="http://schemas.openxmlformats.org/officeDocument/2006/relationships/image" Target="../media/image6.png"/><Relationship Id="rId7" Type="http://schemas.openxmlformats.org/officeDocument/2006/relationships/image" Target="../media/image16.png"/><Relationship Id="rId12" Type="http://schemas.openxmlformats.org/officeDocument/2006/relationships/image" Target="../media/image17.png"/><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5.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 Id="rId14" Type="http://schemas.openxmlformats.org/officeDocument/2006/relationships/hyperlink" Target="http://www.capgemini.com/in-en" TargetMode="Externa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14.emf"/></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0.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hyperlink" Target="http://www.linkedin.com/company/capgemini" TargetMode="External"/><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hyperlink" Target="http://www.youtube.com/capgeminimedia" TargetMode="External"/></Relationships>
</file>

<file path=ppt/slideLayouts/_rels/slideLayout45.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2.png"/><Relationship Id="rId3" Type="http://schemas.openxmlformats.org/officeDocument/2006/relationships/hyperlink" Target="http://www.facebook.com/capgemini" TargetMode="External"/><Relationship Id="rId7" Type="http://schemas.openxmlformats.org/officeDocument/2006/relationships/image" Target="../media/image10.png"/><Relationship Id="rId12" Type="http://schemas.openxmlformats.org/officeDocument/2006/relationships/hyperlink" Target="http://www.youtube.com/capgeminimedia" TargetMode="External"/><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hyperlink" Target="http://www.linkedin.com/company/capgemini" TargetMode="External"/><Relationship Id="rId11" Type="http://schemas.microsoft.com/office/2007/relationships/hdphoto" Target="../media/hdphoto3.wdp"/><Relationship Id="rId5" Type="http://schemas.microsoft.com/office/2007/relationships/hdphoto" Target="../media/hdphoto1.wdp"/><Relationship Id="rId10" Type="http://schemas.openxmlformats.org/officeDocument/2006/relationships/image" Target="../media/image11.png"/><Relationship Id="rId4" Type="http://schemas.openxmlformats.org/officeDocument/2006/relationships/image" Target="../media/image9.png"/><Relationship Id="rId9" Type="http://schemas.openxmlformats.org/officeDocument/2006/relationships/hyperlink" Target="http://www.slideshare.net/capgemini" TargetMode="External"/><Relationship Id="rId14" Type="http://schemas.microsoft.com/office/2007/relationships/hdphoto" Target="../media/hdphoto4.wdp"/></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8.pn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image" Target="../media/image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16.png"/><Relationship Id="rId4" Type="http://schemas.openxmlformats.org/officeDocument/2006/relationships/image" Target="../media/image5.png"/><Relationship Id="rId9" Type="http://schemas.openxmlformats.org/officeDocument/2006/relationships/hyperlink" Target="http://www.twitter.com/capgemini" TargetMode="Externa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8.png"/><Relationship Id="rId2" Type="http://schemas.openxmlformats.org/officeDocument/2006/relationships/image" Target="../media/image17.png"/><Relationship Id="rId1" Type="http://schemas.openxmlformats.org/officeDocument/2006/relationships/slideMaster" Target="../slideMasters/slideMaster2.xml"/><Relationship Id="rId6" Type="http://schemas.openxmlformats.org/officeDocument/2006/relationships/image" Target="../media/image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16.png"/><Relationship Id="rId4" Type="http://schemas.openxmlformats.org/officeDocument/2006/relationships/image" Target="../media/image5.png"/><Relationship Id="rId9" Type="http://schemas.openxmlformats.org/officeDocument/2006/relationships/hyperlink" Target="http://www.twitter.com/capgemini" TargetMode="Externa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4.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19.png"/><Relationship Id="rId3" Type="http://schemas.openxmlformats.org/officeDocument/2006/relationships/hyperlink" Target="http://www.linkedin.com/company/capgemini-invent" TargetMode="External"/><Relationship Id="rId7" Type="http://schemas.openxmlformats.org/officeDocument/2006/relationships/hyperlink" Target="https://twitter.com/CapgeminiInvent" TargetMode="External"/><Relationship Id="rId12" Type="http://schemas.openxmlformats.org/officeDocument/2006/relationships/image" Target="../media/image5.pn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7.png"/><Relationship Id="rId11" Type="http://schemas.openxmlformats.org/officeDocument/2006/relationships/hyperlink" Target="https://de-de.facebook.com/CapgeminiInventDACH/" TargetMode="External"/><Relationship Id="rId5" Type="http://schemas.openxmlformats.org/officeDocument/2006/relationships/hyperlink" Target="http://www.slideshare.net/capgemini" TargetMode="External"/><Relationship Id="rId10" Type="http://schemas.openxmlformats.org/officeDocument/2006/relationships/image" Target="../media/image8.png"/><Relationship Id="rId4" Type="http://schemas.openxmlformats.org/officeDocument/2006/relationships/image" Target="../media/image6.png"/><Relationship Id="rId9" Type="http://schemas.openxmlformats.org/officeDocument/2006/relationships/hyperlink" Target="http://www.youtube.com/capgeminimedia" TargetMode="External"/></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14.emf"/></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4.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8.png"/><Relationship Id="rId2" Type="http://schemas.openxmlformats.org/officeDocument/2006/relationships/image" Target="../media/image15.png"/><Relationship Id="rId1" Type="http://schemas.openxmlformats.org/officeDocument/2006/relationships/slideMaster" Target="../slideMasters/slideMaster4.xml"/><Relationship Id="rId6" Type="http://schemas.openxmlformats.org/officeDocument/2006/relationships/image" Target="../media/image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16.png"/><Relationship Id="rId4" Type="http://schemas.openxmlformats.org/officeDocument/2006/relationships/image" Target="../media/image5.png"/><Relationship Id="rId9" Type="http://schemas.openxmlformats.org/officeDocument/2006/relationships/hyperlink" Target="http://www.twitter.com/capgemini" TargetMode="External"/></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8.png"/><Relationship Id="rId2" Type="http://schemas.openxmlformats.org/officeDocument/2006/relationships/image" Target="../media/image17.png"/><Relationship Id="rId1" Type="http://schemas.openxmlformats.org/officeDocument/2006/relationships/slideMaster" Target="../slideMasters/slideMaster4.xml"/><Relationship Id="rId6" Type="http://schemas.openxmlformats.org/officeDocument/2006/relationships/image" Target="../media/image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16.png"/><Relationship Id="rId4" Type="http://schemas.openxmlformats.org/officeDocument/2006/relationships/image" Target="../media/image5.png"/><Relationship Id="rId9" Type="http://schemas.openxmlformats.org/officeDocument/2006/relationships/hyperlink" Target="http://www.twitter.com/capgemini" TargetMode="Externa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2" name="Subtitle">
            <a:extLst>
              <a:ext uri="{FF2B5EF4-FFF2-40B4-BE49-F238E27FC236}">
                <a16:creationId xmlns:a16="http://schemas.microsoft.com/office/drawing/2014/main" id="{263427DF-DAE9-5C4C-6A1A-438ED4F52194}"/>
              </a:ext>
            </a:extLst>
          </p:cNvPr>
          <p:cNvSpPr>
            <a:spLocks noGrp="1"/>
          </p:cNvSpPr>
          <p:nvPr>
            <p:ph type="subTitle" idx="1"/>
          </p:nvPr>
        </p:nvSpPr>
        <p:spPr>
          <a:xfrm>
            <a:off x="407368" y="5457155"/>
            <a:ext cx="11090276"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3" name="Title">
            <a:extLst>
              <a:ext uri="{FF2B5EF4-FFF2-40B4-BE49-F238E27FC236}">
                <a16:creationId xmlns:a16="http://schemas.microsoft.com/office/drawing/2014/main" id="{4AAC7C66-F303-132A-295B-65A79300A34B}"/>
              </a:ext>
            </a:extLst>
          </p:cNvPr>
          <p:cNvSpPr>
            <a:spLocks noGrp="1"/>
          </p:cNvSpPr>
          <p:nvPr>
            <p:ph type="ctrTitle"/>
          </p:nvPr>
        </p:nvSpPr>
        <p:spPr>
          <a:xfrm>
            <a:off x="40736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11" name="Group 2">
            <a:extLst>
              <a:ext uri="{FF2B5EF4-FFF2-40B4-BE49-F238E27FC236}">
                <a16:creationId xmlns:a16="http://schemas.microsoft.com/office/drawing/2014/main" id="{6CECF1A1-AFBB-C9C3-8C4C-A333753514C3}"/>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6500998E-0CA2-4FA3-BF63-EC673ABF21BF}"/>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F3E23DF4-7EAD-57AB-752A-EC8452CB6C51}"/>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879BEAB9-ED4E-001A-5054-C9630CF436F9}"/>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DC469B38-0BDD-091F-8A89-643F5C025E37}"/>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F04538F8-26C6-0B5E-9B13-7C72AEACEC0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679218571"/>
      </p:ext>
    </p:extLst>
  </p:cSld>
  <p:clrMapOvr>
    <a:masterClrMapping/>
  </p:clrMapOvr>
  <p:extLst>
    <p:ext uri="{DCECCB84-F9BA-43D5-87BE-67443E8EF086}">
      <p15:sldGuideLst xmlns:p15="http://schemas.microsoft.com/office/powerpoint/2012/main">
        <p15:guide id="2" pos="742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5c">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grpSp>
        <p:nvGrpSpPr>
          <p:cNvPr id="2" name="Group 1">
            <a:extLst>
              <a:ext uri="{FF2B5EF4-FFF2-40B4-BE49-F238E27FC236}">
                <a16:creationId xmlns:a16="http://schemas.microsoft.com/office/drawing/2014/main" id="{A6A8A661-3751-29DA-1AB9-334A7C98EA59}"/>
              </a:ext>
            </a:extLst>
          </p:cNvPr>
          <p:cNvGrpSpPr>
            <a:grpSpLocks noChangeAspect="1"/>
          </p:cNvGrpSpPr>
          <p:nvPr userDrawn="1"/>
        </p:nvGrpSpPr>
        <p:grpSpPr>
          <a:xfrm>
            <a:off x="1343473" y="6021288"/>
            <a:ext cx="1872000" cy="420870"/>
            <a:chOff x="5095385" y="4090756"/>
            <a:chExt cx="3033729" cy="682053"/>
          </a:xfrm>
        </p:grpSpPr>
        <p:sp>
          <p:nvSpPr>
            <p:cNvPr id="3" name="Freeform: Shape 2">
              <a:extLst>
                <a:ext uri="{FF2B5EF4-FFF2-40B4-BE49-F238E27FC236}">
                  <a16:creationId xmlns:a16="http://schemas.microsoft.com/office/drawing/2014/main" id="{AE0FC8CB-F05E-FFD4-8D7F-1F94AC26DA2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4" name="Freeform: Shape 3">
              <a:extLst>
                <a:ext uri="{FF2B5EF4-FFF2-40B4-BE49-F238E27FC236}">
                  <a16:creationId xmlns:a16="http://schemas.microsoft.com/office/drawing/2014/main" id="{934D3664-9369-B221-FD17-0597A682848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5" name="Freeform: Shape 4">
              <a:extLst>
                <a:ext uri="{FF2B5EF4-FFF2-40B4-BE49-F238E27FC236}">
                  <a16:creationId xmlns:a16="http://schemas.microsoft.com/office/drawing/2014/main" id="{17A7E500-54F5-1815-C9B9-3954ED883928}"/>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4" name="Freeform: Shape 14">
              <a:extLst>
                <a:ext uri="{FF2B5EF4-FFF2-40B4-BE49-F238E27FC236}">
                  <a16:creationId xmlns:a16="http://schemas.microsoft.com/office/drawing/2014/main" id="{AE2D512F-FC3A-33B0-5954-0D1BFB4C1437}"/>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5" name="Freeform: Shape 20">
              <a:extLst>
                <a:ext uri="{FF2B5EF4-FFF2-40B4-BE49-F238E27FC236}">
                  <a16:creationId xmlns:a16="http://schemas.microsoft.com/office/drawing/2014/main" id="{BB0A86DD-9E86-EB4E-14DC-ECC7130D6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4270426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98A7A6B-0CED-3D22-60C6-B94605CB7B0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0" y="0"/>
            <a:ext cx="12123099" cy="6857999"/>
          </a:xfrm>
          <a:prstGeom prst="rect">
            <a:avLst/>
          </a:prstGeom>
        </p:spPr>
      </p:pic>
      <p:sp>
        <p:nvSpPr>
          <p:cNvPr id="5" name="Rectangle 4">
            <a:extLst>
              <a:ext uri="{FF2B5EF4-FFF2-40B4-BE49-F238E27FC236}">
                <a16:creationId xmlns:a16="http://schemas.microsoft.com/office/drawing/2014/main" id="{B09FB040-01BB-30EA-0F6A-EEE16B9FF6E2}"/>
              </a:ext>
            </a:extLst>
          </p:cNvPr>
          <p:cNvSpPr/>
          <p:nvPr/>
        </p:nvSpPr>
        <p:spPr>
          <a:xfrm>
            <a:off x="0" y="0"/>
            <a:ext cx="12192000" cy="6858000"/>
          </a:xfrm>
          <a:prstGeom prst="rect">
            <a:avLst/>
          </a:prstGeom>
          <a:gradFill>
            <a:gsLst>
              <a:gs pos="0">
                <a:schemeClr val="tx1"/>
              </a:gs>
              <a:gs pos="100000">
                <a:schemeClr val="tx1">
                  <a:alpha val="5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ndParaRPr>
          </a:p>
        </p:txBody>
      </p:sp>
      <p:grpSp>
        <p:nvGrpSpPr>
          <p:cNvPr id="6" name="Group 5">
            <a:extLst>
              <a:ext uri="{FF2B5EF4-FFF2-40B4-BE49-F238E27FC236}">
                <a16:creationId xmlns:a16="http://schemas.microsoft.com/office/drawing/2014/main" id="{8E6991A7-BD83-50CA-1B8F-05991ACA1C61}"/>
              </a:ext>
            </a:extLst>
          </p:cNvPr>
          <p:cNvGrpSpPr>
            <a:grpSpLocks noChangeAspect="1"/>
          </p:cNvGrpSpPr>
          <p:nvPr/>
        </p:nvGrpSpPr>
        <p:grpSpPr>
          <a:xfrm>
            <a:off x="476900" y="611982"/>
            <a:ext cx="2267015" cy="509586"/>
            <a:chOff x="9550400" y="612775"/>
            <a:chExt cx="2231297" cy="501650"/>
          </a:xfrm>
        </p:grpSpPr>
        <p:sp>
          <p:nvSpPr>
            <p:cNvPr id="8" name="Freeform: Shape 7">
              <a:extLst>
                <a:ext uri="{FF2B5EF4-FFF2-40B4-BE49-F238E27FC236}">
                  <a16:creationId xmlns:a16="http://schemas.microsoft.com/office/drawing/2014/main" id="{FC159652-3A41-B662-B60F-E3DD77DAAD54}"/>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0D5C58D9-8A55-12C8-F9ED-644CD31137F4}"/>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10">
              <a:extLst>
                <a:ext uri="{FF2B5EF4-FFF2-40B4-BE49-F238E27FC236}">
                  <a16:creationId xmlns:a16="http://schemas.microsoft.com/office/drawing/2014/main" id="{03DCD35C-0CFA-DD43-E659-142B81986BE0}"/>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1">
              <a:extLst>
                <a:ext uri="{FF2B5EF4-FFF2-40B4-BE49-F238E27FC236}">
                  <a16:creationId xmlns:a16="http://schemas.microsoft.com/office/drawing/2014/main" id="{D5C312AB-334E-47EB-B6E8-53315D94D051}"/>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2">
              <a:extLst>
                <a:ext uri="{FF2B5EF4-FFF2-40B4-BE49-F238E27FC236}">
                  <a16:creationId xmlns:a16="http://schemas.microsoft.com/office/drawing/2014/main" id="{7BBF9742-8562-9764-1C8A-1BC84419D63B}"/>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
        <p:nvSpPr>
          <p:cNvPr id="13" name="TextBox 12">
            <a:extLst>
              <a:ext uri="{FF2B5EF4-FFF2-40B4-BE49-F238E27FC236}">
                <a16:creationId xmlns:a16="http://schemas.microsoft.com/office/drawing/2014/main" id="{4D85C194-CDD8-4BC7-1C92-B0E3040D9942}"/>
              </a:ext>
            </a:extLst>
          </p:cNvPr>
          <p:cNvSpPr txBox="1"/>
          <p:nvPr userDrawn="1"/>
        </p:nvSpPr>
        <p:spPr>
          <a:xfrm>
            <a:off x="8387012" y="6452462"/>
            <a:ext cx="3424526" cy="338554"/>
          </a:xfrm>
          <a:prstGeom prst="rect">
            <a:avLst/>
          </a:prstGeom>
          <a:noFill/>
        </p:spPr>
        <p:txBody>
          <a:bodyPr wrap="square" rtlCol="0">
            <a:spAutoFit/>
          </a:bodyPr>
          <a:lstStyle/>
          <a:p>
            <a:pPr algn="ctr"/>
            <a:r>
              <a:rPr lang="en-IN" sz="1600">
                <a:solidFill>
                  <a:schemeClr val="accent1"/>
                </a:solidFill>
              </a:rPr>
              <a:t>Powered by Gen AI For CX Foundry</a:t>
            </a:r>
          </a:p>
        </p:txBody>
      </p:sp>
      <p:sp>
        <p:nvSpPr>
          <p:cNvPr id="2" name="Title 1">
            <a:extLst>
              <a:ext uri="{FF2B5EF4-FFF2-40B4-BE49-F238E27FC236}">
                <a16:creationId xmlns:a16="http://schemas.microsoft.com/office/drawing/2014/main" id="{FDB0CAFF-8B20-4B52-A18C-BFD139761BF9}"/>
              </a:ext>
            </a:extLst>
          </p:cNvPr>
          <p:cNvSpPr>
            <a:spLocks noGrp="1"/>
          </p:cNvSpPr>
          <p:nvPr userDrawn="1">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956225981"/>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3_Titre seul">
    <p:bg>
      <p:bgPr>
        <a:solidFill>
          <a:schemeClr val="accent4"/>
        </a:solidFill>
        <a:effectLst/>
      </p:bgPr>
    </p:bg>
    <p:spTree>
      <p:nvGrpSpPr>
        <p:cNvPr id="1" name=""/>
        <p:cNvGrpSpPr/>
        <p:nvPr/>
      </p:nvGrpSpPr>
      <p:grpSpPr>
        <a:xfrm>
          <a:off x="0" y="0"/>
          <a:ext cx="0" cy="0"/>
          <a:chOff x="0" y="0"/>
          <a:chExt cx="0" cy="0"/>
        </a:xfrm>
      </p:grpSpPr>
      <p:pic>
        <p:nvPicPr>
          <p:cNvPr id="3" name="Picture 2" descr="A person sitting at a desk looking at a screen with drawings&#10;&#10;Description automatically generated with low confidence">
            <a:extLst>
              <a:ext uri="{FF2B5EF4-FFF2-40B4-BE49-F238E27FC236}">
                <a16:creationId xmlns:a16="http://schemas.microsoft.com/office/drawing/2014/main" id="{25416125-19EF-69A4-9D8C-663395F7515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2560"/>
            <a:ext cx="12192000" cy="6832879"/>
          </a:xfrm>
          <a:prstGeom prst="rect">
            <a:avLst/>
          </a:prstGeom>
        </p:spPr>
      </p:pic>
      <p:sp>
        <p:nvSpPr>
          <p:cNvPr id="7" name="Rectangle 6">
            <a:extLst>
              <a:ext uri="{FF2B5EF4-FFF2-40B4-BE49-F238E27FC236}">
                <a16:creationId xmlns:a16="http://schemas.microsoft.com/office/drawing/2014/main" id="{00C0BD43-9130-9771-6A24-86CF882B1306}"/>
              </a:ext>
            </a:extLst>
          </p:cNvPr>
          <p:cNvSpPr/>
          <p:nvPr userDrawn="1"/>
        </p:nvSpPr>
        <p:spPr>
          <a:xfrm>
            <a:off x="0" y="0"/>
            <a:ext cx="12192000" cy="6858000"/>
          </a:xfrm>
          <a:prstGeom prst="rect">
            <a:avLst/>
          </a:prstGeom>
          <a:gradFill flip="none" rotWithShape="1">
            <a:gsLst>
              <a:gs pos="19000">
                <a:srgbClr val="3D4055">
                  <a:lumMod val="0"/>
                </a:srgbClr>
              </a:gs>
              <a:gs pos="100000">
                <a:srgbClr val="3D4055">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6" name="object 76">
            <a:extLst>
              <a:ext uri="{FF2B5EF4-FFF2-40B4-BE49-F238E27FC236}">
                <a16:creationId xmlns:a16="http://schemas.microsoft.com/office/drawing/2014/main" id="{E6CA4173-3518-10DD-3C27-F3E85ED82FAC}"/>
              </a:ext>
              <a:ext uri="{C183D7F6-B498-43B3-948B-1728B52AA6E4}">
                <adec:decorative xmlns:adec="http://schemas.microsoft.com/office/drawing/2017/decorative" val="1"/>
              </a:ext>
            </a:extLst>
          </p:cNvPr>
          <p:cNvSpPr/>
          <p:nvPr userDrawn="1"/>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pPr defTabSz="554492"/>
            <a:endParaRPr sz="1092">
              <a:solidFill>
                <a:prstClr val="black"/>
              </a:solidFill>
              <a:latin typeface="Ubuntu"/>
            </a:endParaRPr>
          </a:p>
        </p:txBody>
      </p:sp>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tângulo 43">
            <a:extLst>
              <a:ext uri="{FF2B5EF4-FFF2-40B4-BE49-F238E27FC236}">
                <a16:creationId xmlns:a16="http://schemas.microsoft.com/office/drawing/2014/main" id="{57B75F62-1FDD-A0D9-5B9B-980CB5F41AB1}"/>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9" name="Rectangle 27">
            <a:extLst>
              <a:ext uri="{FF2B5EF4-FFF2-40B4-BE49-F238E27FC236}">
                <a16:creationId xmlns:a16="http://schemas.microsoft.com/office/drawing/2014/main" id="{A954C80F-4D89-4426-0382-54CB05FDE944}"/>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Restricted © Capgemini 2023. All rights reserved  |</a:t>
            </a:r>
          </a:p>
        </p:txBody>
      </p:sp>
      <p:sp>
        <p:nvSpPr>
          <p:cNvPr id="11" name="TextBox 10">
            <a:extLst>
              <a:ext uri="{FF2B5EF4-FFF2-40B4-BE49-F238E27FC236}">
                <a16:creationId xmlns:a16="http://schemas.microsoft.com/office/drawing/2014/main" id="{F40A399B-7528-B051-9A54-A243CA0622DD}"/>
              </a:ext>
            </a:extLst>
          </p:cNvPr>
          <p:cNvSpPr txBox="1"/>
          <p:nvPr userDrawn="1"/>
        </p:nvSpPr>
        <p:spPr>
          <a:xfrm>
            <a:off x="6005513" y="6473711"/>
            <a:ext cx="3424526" cy="307777"/>
          </a:xfrm>
          <a:prstGeom prst="rect">
            <a:avLst/>
          </a:prstGeom>
          <a:noFill/>
        </p:spPr>
        <p:txBody>
          <a:bodyPr wrap="square" rtlCol="0">
            <a:spAutoFit/>
          </a:bodyPr>
          <a:lstStyle/>
          <a:p>
            <a:pPr algn="ctr"/>
            <a:r>
              <a:rPr lang="en-IN" sz="1400">
                <a:solidFill>
                  <a:schemeClr val="accent1"/>
                </a:solidFill>
              </a:rPr>
              <a:t>Powered by Gen AI For CX Foundry</a:t>
            </a:r>
          </a:p>
        </p:txBody>
      </p:sp>
    </p:spTree>
    <p:extLst>
      <p:ext uri="{BB962C8B-B14F-4D97-AF65-F5344CB8AC3E}">
        <p14:creationId xmlns:p14="http://schemas.microsoft.com/office/powerpoint/2010/main" val="327465702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_Titre seul">
    <p:bg>
      <p:bgPr>
        <a:solidFill>
          <a:schemeClr val="accent4"/>
        </a:solidFill>
        <a:effectLst/>
      </p:bgPr>
    </p:bg>
    <p:spTree>
      <p:nvGrpSpPr>
        <p:cNvPr id="1" name=""/>
        <p:cNvGrpSpPr/>
        <p:nvPr/>
      </p:nvGrpSpPr>
      <p:grpSpPr>
        <a:xfrm>
          <a:off x="0" y="0"/>
          <a:ext cx="0" cy="0"/>
          <a:chOff x="0" y="0"/>
          <a:chExt cx="0" cy="0"/>
        </a:xfrm>
      </p:grpSpPr>
      <p:pic>
        <p:nvPicPr>
          <p:cNvPr id="11" name="Picture 2" descr="Salesforce Ventures targets new $250M fund at generative AI startups |  TechCrunch">
            <a:extLst>
              <a:ext uri="{FF2B5EF4-FFF2-40B4-BE49-F238E27FC236}">
                <a16:creationId xmlns:a16="http://schemas.microsoft.com/office/drawing/2014/main" id="{18DEB7D2-2FC7-9412-DC08-466B32F8FC0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B946FC12-7665-C186-E92D-769792C3A656}"/>
              </a:ext>
            </a:extLst>
          </p:cNvPr>
          <p:cNvSpPr/>
          <p:nvPr userDrawn="1"/>
        </p:nvSpPr>
        <p:spPr>
          <a:xfrm>
            <a:off x="0" y="0"/>
            <a:ext cx="12191979" cy="6858000"/>
          </a:xfrm>
          <a:prstGeom prst="rect">
            <a:avLst/>
          </a:prstGeom>
          <a:gradFill>
            <a:gsLst>
              <a:gs pos="59000">
                <a:schemeClr val="tx1">
                  <a:lumMod val="8000"/>
                </a:schemeClr>
              </a:gs>
              <a:gs pos="86000">
                <a:schemeClr val="tx1">
                  <a:alpha val="5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Ubuntu" panose="020B0504030602030204" pitchFamily="34" charset="0"/>
            </a:endParaRPr>
          </a:p>
        </p:txBody>
      </p:sp>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6" name="Retângulo 43">
            <a:extLst>
              <a:ext uri="{FF2B5EF4-FFF2-40B4-BE49-F238E27FC236}">
                <a16:creationId xmlns:a16="http://schemas.microsoft.com/office/drawing/2014/main" id="{D5D7EC9B-615E-E1C2-42FF-E9D24890C6D4}"/>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7" name="Rectangle 27">
            <a:extLst>
              <a:ext uri="{FF2B5EF4-FFF2-40B4-BE49-F238E27FC236}">
                <a16:creationId xmlns:a16="http://schemas.microsoft.com/office/drawing/2014/main" id="{CE96F217-0150-6443-5DD0-22E6FF9FE4E4}"/>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Restricted © Capgemini 2023. All rights reserved  |</a:t>
            </a:r>
          </a:p>
        </p:txBody>
      </p:sp>
      <p:sp>
        <p:nvSpPr>
          <p:cNvPr id="8" name="TextBox 7">
            <a:extLst>
              <a:ext uri="{FF2B5EF4-FFF2-40B4-BE49-F238E27FC236}">
                <a16:creationId xmlns:a16="http://schemas.microsoft.com/office/drawing/2014/main" id="{1D8B5FD9-21EE-C0AA-B819-C1F529C8D273}"/>
              </a:ext>
            </a:extLst>
          </p:cNvPr>
          <p:cNvSpPr txBox="1"/>
          <p:nvPr userDrawn="1"/>
        </p:nvSpPr>
        <p:spPr>
          <a:xfrm>
            <a:off x="6005513" y="6473711"/>
            <a:ext cx="3424526" cy="307777"/>
          </a:xfrm>
          <a:prstGeom prst="rect">
            <a:avLst/>
          </a:prstGeom>
          <a:noFill/>
        </p:spPr>
        <p:txBody>
          <a:bodyPr wrap="square" rtlCol="0">
            <a:spAutoFit/>
          </a:bodyPr>
          <a:lstStyle/>
          <a:p>
            <a:pPr algn="ctr"/>
            <a:r>
              <a:rPr lang="en-IN" sz="1400">
                <a:solidFill>
                  <a:schemeClr val="accent1"/>
                </a:solidFill>
              </a:rPr>
              <a:t>Powered by Gen AI For CX Foundry</a:t>
            </a:r>
          </a:p>
        </p:txBody>
      </p:sp>
      <p:sp>
        <p:nvSpPr>
          <p:cNvPr id="9" name="object 76">
            <a:extLst>
              <a:ext uri="{FF2B5EF4-FFF2-40B4-BE49-F238E27FC236}">
                <a16:creationId xmlns:a16="http://schemas.microsoft.com/office/drawing/2014/main" id="{1A3E2B59-0777-D2AD-4C31-414E9F3FE8AE}"/>
              </a:ext>
              <a:ext uri="{C183D7F6-B498-43B3-948B-1728B52AA6E4}">
                <adec:decorative xmlns:adec="http://schemas.microsoft.com/office/drawing/2017/decorative" val="1"/>
              </a:ext>
            </a:extLst>
          </p:cNvPr>
          <p:cNvSpPr/>
          <p:nvPr userDrawn="1"/>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pPr defTabSz="554492"/>
            <a:endParaRPr sz="1092">
              <a:solidFill>
                <a:prstClr val="black"/>
              </a:solidFill>
              <a:latin typeface="Ubuntu"/>
            </a:endParaRPr>
          </a:p>
        </p:txBody>
      </p:sp>
    </p:spTree>
    <p:extLst>
      <p:ext uri="{BB962C8B-B14F-4D97-AF65-F5344CB8AC3E}">
        <p14:creationId xmlns:p14="http://schemas.microsoft.com/office/powerpoint/2010/main" val="2708504870"/>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0131880"/>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C6E504-BCFE-D58C-FC28-6060E153DCA6}"/>
              </a:ext>
            </a:extLst>
          </p:cNvPr>
          <p:cNvSpPr/>
          <p:nvPr userDrawn="1"/>
        </p:nvSpPr>
        <p:spPr>
          <a:xfrm>
            <a:off x="1" y="2587750"/>
            <a:ext cx="12191752" cy="42702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err="1"/>
          </a:p>
        </p:txBody>
      </p:sp>
      <p:grpSp>
        <p:nvGrpSpPr>
          <p:cNvPr id="3" name="Group 2">
            <a:extLst>
              <a:ext uri="{FF2B5EF4-FFF2-40B4-BE49-F238E27FC236}">
                <a16:creationId xmlns:a16="http://schemas.microsoft.com/office/drawing/2014/main" id="{F5405D7D-D28E-7E8F-B49D-8E582E22403E}"/>
              </a:ext>
              <a:ext uri="{C183D7F6-B498-43B3-948B-1728B52AA6E4}">
                <adec:decorative xmlns:adec="http://schemas.microsoft.com/office/drawing/2017/decorative" val="1"/>
              </a:ext>
            </a:extLst>
          </p:cNvPr>
          <p:cNvGrpSpPr/>
          <p:nvPr userDrawn="1"/>
        </p:nvGrpSpPr>
        <p:grpSpPr>
          <a:xfrm>
            <a:off x="0" y="0"/>
            <a:ext cx="12192000" cy="2587752"/>
            <a:chOff x="0" y="0"/>
            <a:chExt cx="12192000" cy="2345707"/>
          </a:xfrm>
        </p:grpSpPr>
        <p:pic>
          <p:nvPicPr>
            <p:cNvPr id="5" name="Picture 4">
              <a:extLst>
                <a:ext uri="{FF2B5EF4-FFF2-40B4-BE49-F238E27FC236}">
                  <a16:creationId xmlns:a16="http://schemas.microsoft.com/office/drawing/2014/main" id="{C56450E2-20A2-4012-7D17-AD2D15C3938D}"/>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b="18315"/>
            <a:stretch/>
          </p:blipFill>
          <p:spPr>
            <a:xfrm>
              <a:off x="0" y="0"/>
              <a:ext cx="12192000" cy="2345707"/>
            </a:xfrm>
            <a:prstGeom prst="rect">
              <a:avLst/>
            </a:prstGeom>
          </p:spPr>
        </p:pic>
        <p:pic>
          <p:nvPicPr>
            <p:cNvPr id="6" name="Picture 5">
              <a:extLst>
                <a:ext uri="{FF2B5EF4-FFF2-40B4-BE49-F238E27FC236}">
                  <a16:creationId xmlns:a16="http://schemas.microsoft.com/office/drawing/2014/main" id="{F1335082-5A78-709C-0DEC-000AE320D500}"/>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 r="-131" b="18315"/>
            <a:stretch/>
          </p:blipFill>
          <p:spPr>
            <a:xfrm>
              <a:off x="2621435" y="0"/>
              <a:ext cx="9480550" cy="2345707"/>
            </a:xfrm>
            <a:prstGeom prst="rect">
              <a:avLst/>
            </a:prstGeom>
          </p:spPr>
        </p:pic>
      </p:grpSp>
      <p:sp>
        <p:nvSpPr>
          <p:cNvPr id="7" name="object 76">
            <a:extLst>
              <a:ext uri="{FF2B5EF4-FFF2-40B4-BE49-F238E27FC236}">
                <a16:creationId xmlns:a16="http://schemas.microsoft.com/office/drawing/2014/main" id="{DFBB60F9-F32A-A38C-E625-CBDCF8C0BA0B}"/>
              </a:ext>
              <a:ext uri="{C183D7F6-B498-43B3-948B-1728B52AA6E4}">
                <adec:decorative xmlns:adec="http://schemas.microsoft.com/office/drawing/2017/decorative" val="1"/>
              </a:ext>
            </a:extLst>
          </p:cNvPr>
          <p:cNvSpPr/>
          <p:nvPr userDrawn="1"/>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pPr defTabSz="554492"/>
            <a:endParaRPr sz="1092">
              <a:solidFill>
                <a:prstClr val="black"/>
              </a:solidFill>
              <a:latin typeface="Ubuntu"/>
            </a:endParaRPr>
          </a:p>
        </p:txBody>
      </p:sp>
      <p:sp>
        <p:nvSpPr>
          <p:cNvPr id="8" name="Retângulo 43">
            <a:extLst>
              <a:ext uri="{FF2B5EF4-FFF2-40B4-BE49-F238E27FC236}">
                <a16:creationId xmlns:a16="http://schemas.microsoft.com/office/drawing/2014/main" id="{E34217B5-96C7-E22B-07A3-3C01A50296DD}"/>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9" name="Rectangle 27">
            <a:extLst>
              <a:ext uri="{FF2B5EF4-FFF2-40B4-BE49-F238E27FC236}">
                <a16:creationId xmlns:a16="http://schemas.microsoft.com/office/drawing/2014/main" id="{5ACABB0D-2242-46BB-B686-9A94B09EF352}"/>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Restricted © Capgemini 2023. All rights reserved  |</a:t>
            </a:r>
          </a:p>
        </p:txBody>
      </p:sp>
      <p:sp>
        <p:nvSpPr>
          <p:cNvPr id="10" name="TextBox 9">
            <a:extLst>
              <a:ext uri="{FF2B5EF4-FFF2-40B4-BE49-F238E27FC236}">
                <a16:creationId xmlns:a16="http://schemas.microsoft.com/office/drawing/2014/main" id="{FBA9777B-D77A-1CC9-A7C4-780AD55E74B8}"/>
              </a:ext>
            </a:extLst>
          </p:cNvPr>
          <p:cNvSpPr txBox="1"/>
          <p:nvPr userDrawn="1"/>
        </p:nvSpPr>
        <p:spPr>
          <a:xfrm>
            <a:off x="6005513" y="6473711"/>
            <a:ext cx="3424526" cy="307777"/>
          </a:xfrm>
          <a:prstGeom prst="rect">
            <a:avLst/>
          </a:prstGeom>
          <a:noFill/>
        </p:spPr>
        <p:txBody>
          <a:bodyPr wrap="square" rtlCol="0" anchor="ctr">
            <a:spAutoFit/>
          </a:bodyPr>
          <a:lstStyle/>
          <a:p>
            <a:pPr algn="ctr"/>
            <a:r>
              <a:rPr lang="en-IN" sz="1400">
                <a:solidFill>
                  <a:schemeClr val="accent1"/>
                </a:solidFill>
              </a:rPr>
              <a:t>Powered by Gen AI For CX Foundry</a:t>
            </a:r>
          </a:p>
        </p:txBody>
      </p:sp>
    </p:spTree>
    <p:extLst>
      <p:ext uri="{BB962C8B-B14F-4D97-AF65-F5344CB8AC3E}">
        <p14:creationId xmlns:p14="http://schemas.microsoft.com/office/powerpoint/2010/main" val="586983362"/>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his presentation contains information that may be privileged or confidential and is the property of the Capgemini Group.</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opyright © 2023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
        <p:nvSpPr>
          <p:cNvPr id="24" name="Rectangle 23">
            <a:extLst>
              <a:ext uri="{FF2B5EF4-FFF2-40B4-BE49-F238E27FC236}">
                <a16:creationId xmlns:a16="http://schemas.microsoft.com/office/drawing/2014/main" id="{DD8AE2E2-9B77-D075-D684-724439078943}"/>
              </a:ext>
            </a:extLst>
          </p:cNvPr>
          <p:cNvSpPr/>
          <p:nvPr userDrawn="1"/>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360,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2 global revenues of €22 billion.</a:t>
            </a:r>
          </a:p>
        </p:txBody>
      </p:sp>
      <p:sp>
        <p:nvSpPr>
          <p:cNvPr id="25" name="Rectangle 24">
            <a:extLst>
              <a:ext uri="{FF2B5EF4-FFF2-40B4-BE49-F238E27FC236}">
                <a16:creationId xmlns:a16="http://schemas.microsoft.com/office/drawing/2014/main" id="{B93EC93D-640C-01BD-A033-E20DEF44E56B}"/>
              </a:ext>
            </a:extLst>
          </p:cNvPr>
          <p:cNvSpPr/>
          <p:nvPr userDrawn="1"/>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bout Capgemini</a:t>
            </a:r>
          </a:p>
        </p:txBody>
      </p:sp>
      <p:sp>
        <p:nvSpPr>
          <p:cNvPr id="26" name="Rectangle 25">
            <a:extLst>
              <a:ext uri="{FF2B5EF4-FFF2-40B4-BE49-F238E27FC236}">
                <a16:creationId xmlns:a16="http://schemas.microsoft.com/office/drawing/2014/main" id="{71B1E23D-5869-23B5-346C-0400A6ABB057}"/>
              </a:ext>
            </a:extLst>
          </p:cNvPr>
          <p:cNvSpPr/>
          <p:nvPr userDrawn="1"/>
        </p:nvSpPr>
        <p:spPr>
          <a:xfrm>
            <a:off x="6536184" y="476757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Get the Future You Want </a:t>
            </a:r>
            <a:r>
              <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t>
            </a: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 </a:t>
            </a:r>
            <a:r>
              <a:rPr kumimoji="0" lang="en-US" sz="1050" b="0" i="0" u="none" strike="noStrike" kern="1200" cap="none" spc="0" normalizeH="0" baseline="0" noProof="0">
                <a:ln>
                  <a:noFill/>
                </a:ln>
                <a:solidFill>
                  <a:srgbClr val="12ABDB"/>
                </a:solidFill>
                <a:effectLst/>
                <a:uLnTx/>
                <a:uFillTx/>
                <a:latin typeface="Ubuntu" panose="020B0504030602030204" pitchFamily="34" charset="0"/>
                <a:ea typeface="+mn-ea"/>
                <a:cs typeface="+mn-cs"/>
              </a:rPr>
              <a:t>www.capgemini.com</a:t>
            </a:r>
          </a:p>
        </p:txBody>
      </p:sp>
      <p:sp>
        <p:nvSpPr>
          <p:cNvPr id="27" name="TextBox 26">
            <a:extLst>
              <a:ext uri="{FF2B5EF4-FFF2-40B4-BE49-F238E27FC236}">
                <a16:creationId xmlns:a16="http://schemas.microsoft.com/office/drawing/2014/main" id="{0E4D6497-98A9-E1B9-7439-4CC089BCA940}"/>
              </a:ext>
            </a:extLst>
          </p:cNvPr>
          <p:cNvSpPr txBox="1"/>
          <p:nvPr userDrawn="1"/>
        </p:nvSpPr>
        <p:spPr>
          <a:xfrm>
            <a:off x="6536183" y="5036752"/>
            <a:ext cx="4845719" cy="692497"/>
          </a:xfrm>
          <a:prstGeom prst="rect">
            <a:avLst/>
          </a:prstGeom>
          <a:solidFill>
            <a:schemeClr val="accent4"/>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Ubuntu"/>
                <a:ea typeface="+mn-ea"/>
                <a:cs typeface="+mn-cs"/>
              </a:rPr>
              <a:t>Capgemini in India comprises over 185,000 team members working across 13 locations: Bangalore, Bhubaneswar, Chennai, Coimbatore, Gandhinagar, Gurugram, Hyderabad, Kolkata, Mumbai, Noida, Pune, Salem and Tiruchirappalli. </a:t>
            </a:r>
            <a:br>
              <a:rPr kumimoji="0" lang="en-US" sz="900" b="0" i="0" u="none" strike="noStrike" kern="1200" cap="none" spc="0" normalizeH="0" baseline="0" noProof="0">
                <a:ln>
                  <a:noFill/>
                </a:ln>
                <a:solidFill>
                  <a:srgbClr val="FFFFFF"/>
                </a:solidFill>
                <a:effectLst/>
                <a:uLnTx/>
                <a:uFillTx/>
                <a:latin typeface="Ubuntu"/>
                <a:ea typeface="+mn-ea"/>
                <a:cs typeface="+mn-cs"/>
              </a:rPr>
            </a:br>
            <a:r>
              <a:rPr kumimoji="0" lang="en-US" sz="900" b="0" i="0" u="none" strike="noStrike" kern="1200" cap="none" spc="0" normalizeH="0" baseline="0" noProof="0">
                <a:ln>
                  <a:noFill/>
                </a:ln>
                <a:solidFill>
                  <a:srgbClr val="FFFFFF"/>
                </a:solidFill>
                <a:effectLst/>
                <a:uLnTx/>
                <a:uFillTx/>
                <a:latin typeface="Ubuntu"/>
                <a:ea typeface="+mn-ea"/>
                <a:cs typeface="+mn-cs"/>
              </a:rPr>
              <a:t>Learn more about Capgemini in India at </a:t>
            </a:r>
            <a:r>
              <a:rPr kumimoji="0" lang="en-US" sz="900" b="0" i="0" u="sng" strike="noStrike" kern="1200" cap="none" spc="0" normalizeH="0" baseline="0" noProof="0">
                <a:ln>
                  <a:noFill/>
                </a:ln>
                <a:solidFill>
                  <a:srgbClr val="FFFFFF"/>
                </a:solidFill>
                <a:effectLst/>
                <a:uLnTx/>
                <a:uFillTx/>
                <a:latin typeface="Ubuntu"/>
                <a:ea typeface="+mn-ea"/>
                <a:cs typeface="+mn-cs"/>
                <a:hlinkClick r:id="rId14"/>
              </a:rPr>
              <a:t>www.capgemini.com/in-en</a:t>
            </a:r>
            <a:r>
              <a:rPr kumimoji="0" lang="en-US" sz="900" b="0" i="0" u="none" strike="noStrike" kern="1200" cap="none" spc="0" normalizeH="0" baseline="0" noProof="0">
                <a:ln>
                  <a:noFill/>
                </a:ln>
                <a:solidFill>
                  <a:srgbClr val="FFFFFF"/>
                </a:solidFill>
                <a:effectLst/>
                <a:uLnTx/>
                <a:uFillTx/>
                <a:latin typeface="Ubuntu"/>
                <a:ea typeface="+mn-ea"/>
                <a:cs typeface="+mn-cs"/>
                <a:hlinkClick r:id="rId14"/>
              </a:rPr>
              <a:t>. </a:t>
            </a:r>
            <a:endParaRPr kumimoji="0" lang="en-IN" sz="900" b="0" i="0" u="none" strike="noStrike" kern="1200" cap="none" spc="0" normalizeH="0" baseline="0" noProof="0">
              <a:ln>
                <a:noFill/>
              </a:ln>
              <a:solidFill>
                <a:srgbClr val="FFFFFF"/>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1721526230"/>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413346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7" name="Picture Placeholder 24">
            <a:extLst>
              <a:ext uri="{FF2B5EF4-FFF2-40B4-BE49-F238E27FC236}">
                <a16:creationId xmlns:a16="http://schemas.microsoft.com/office/drawing/2014/main" id="{AA5F3EBC-E5BB-4F23-8682-D1866F0D4F8F}"/>
              </a:ext>
            </a:extLst>
          </p:cNvPr>
          <p:cNvSpPr>
            <a:spLocks noGrp="1"/>
          </p:cNvSpPr>
          <p:nvPr>
            <p:ph type="pic" sz="quarter" idx="10" hasCustomPrompt="1"/>
          </p:nvPr>
        </p:nvSpPr>
        <p:spPr>
          <a:xfrm>
            <a:off x="0" y="0"/>
            <a:ext cx="12192000" cy="6858000"/>
          </a:xfrm>
          <a:custGeom>
            <a:avLst/>
            <a:gdLst>
              <a:gd name="connsiteX0" fmla="*/ 9343829 w 12192000"/>
              <a:gd name="connsiteY0" fmla="*/ 959868 h 6858000"/>
              <a:gd name="connsiteX1" fmla="*/ 9294981 w 12192000"/>
              <a:gd name="connsiteY1" fmla="*/ 1078731 h 6858000"/>
              <a:gd name="connsiteX2" fmla="*/ 9271643 w 12192000"/>
              <a:gd name="connsiteY2" fmla="*/ 1047794 h 6858000"/>
              <a:gd name="connsiteX3" fmla="*/ 9343829 w 12192000"/>
              <a:gd name="connsiteY3" fmla="*/ 959868 h 6858000"/>
              <a:gd name="connsiteX4" fmla="*/ 11404665 w 12192000"/>
              <a:gd name="connsiteY4" fmla="*/ 772073 h 6858000"/>
              <a:gd name="connsiteX5" fmla="*/ 11422576 w 12192000"/>
              <a:gd name="connsiteY5" fmla="*/ 775872 h 6858000"/>
              <a:gd name="connsiteX6" fmla="*/ 11435602 w 12192000"/>
              <a:gd name="connsiteY6" fmla="*/ 786185 h 6858000"/>
              <a:gd name="connsiteX7" fmla="*/ 11443743 w 12192000"/>
              <a:gd name="connsiteY7" fmla="*/ 801382 h 6858000"/>
              <a:gd name="connsiteX8" fmla="*/ 11446457 w 12192000"/>
              <a:gd name="connsiteY8" fmla="*/ 819836 h 6858000"/>
              <a:gd name="connsiteX9" fmla="*/ 11359074 w 12192000"/>
              <a:gd name="connsiteY9" fmla="*/ 819836 h 6858000"/>
              <a:gd name="connsiteX10" fmla="*/ 11363416 w 12192000"/>
              <a:gd name="connsiteY10" fmla="*/ 802467 h 6858000"/>
              <a:gd name="connsiteX11" fmla="*/ 11372100 w 12192000"/>
              <a:gd name="connsiteY11" fmla="*/ 787270 h 6858000"/>
              <a:gd name="connsiteX12" fmla="*/ 11385668 w 12192000"/>
              <a:gd name="connsiteY12" fmla="*/ 776415 h 6858000"/>
              <a:gd name="connsiteX13" fmla="*/ 11404665 w 12192000"/>
              <a:gd name="connsiteY13" fmla="*/ 772073 h 6858000"/>
              <a:gd name="connsiteX14" fmla="*/ 9493087 w 12192000"/>
              <a:gd name="connsiteY14" fmla="*/ 766103 h 6858000"/>
              <a:gd name="connsiteX15" fmla="*/ 9514797 w 12192000"/>
              <a:gd name="connsiteY15" fmla="*/ 799212 h 6858000"/>
              <a:gd name="connsiteX16" fmla="*/ 9467034 w 12192000"/>
              <a:gd name="connsiteY16" fmla="*/ 869227 h 6858000"/>
              <a:gd name="connsiteX17" fmla="*/ 9493087 w 12192000"/>
              <a:gd name="connsiteY17" fmla="*/ 766103 h 6858000"/>
              <a:gd name="connsiteX18" fmla="*/ 11119177 w 12192000"/>
              <a:gd name="connsiteY18" fmla="*/ 740594 h 6858000"/>
              <a:gd name="connsiteX19" fmla="*/ 11189735 w 12192000"/>
              <a:gd name="connsiteY19" fmla="*/ 924046 h 6858000"/>
              <a:gd name="connsiteX20" fmla="*/ 11213074 w 12192000"/>
              <a:gd name="connsiteY20" fmla="*/ 944670 h 6858000"/>
              <a:gd name="connsiteX21" fmla="*/ 11236955 w 12192000"/>
              <a:gd name="connsiteY21" fmla="*/ 944670 h 6858000"/>
              <a:gd name="connsiteX22" fmla="*/ 11314569 w 12192000"/>
              <a:gd name="connsiteY22" fmla="*/ 740594 h 6858000"/>
              <a:gd name="connsiteX23" fmla="*/ 11278747 w 12192000"/>
              <a:gd name="connsiteY23" fmla="*/ 740594 h 6858000"/>
              <a:gd name="connsiteX24" fmla="*/ 11257580 w 12192000"/>
              <a:gd name="connsiteY24" fmla="*/ 761219 h 6858000"/>
              <a:gd name="connsiteX25" fmla="*/ 11217416 w 12192000"/>
              <a:gd name="connsiteY25" fmla="*/ 876825 h 6858000"/>
              <a:gd name="connsiteX26" fmla="*/ 11175624 w 12192000"/>
              <a:gd name="connsiteY26" fmla="*/ 763390 h 6858000"/>
              <a:gd name="connsiteX27" fmla="*/ 11153913 w 12192000"/>
              <a:gd name="connsiteY27" fmla="*/ 740594 h 6858000"/>
              <a:gd name="connsiteX28" fmla="*/ 11130575 w 12192000"/>
              <a:gd name="connsiteY28" fmla="*/ 740594 h 6858000"/>
              <a:gd name="connsiteX29" fmla="*/ 10865711 w 12192000"/>
              <a:gd name="connsiteY29" fmla="*/ 740051 h 6858000"/>
              <a:gd name="connsiteX30" fmla="*/ 10865711 w 12192000"/>
              <a:gd name="connsiteY30" fmla="*/ 910476 h 6858000"/>
              <a:gd name="connsiteX31" fmla="*/ 10899904 w 12192000"/>
              <a:gd name="connsiteY31" fmla="*/ 944670 h 6858000"/>
              <a:gd name="connsiteX32" fmla="*/ 10912930 w 12192000"/>
              <a:gd name="connsiteY32" fmla="*/ 944670 h 6858000"/>
              <a:gd name="connsiteX33" fmla="*/ 10912930 w 12192000"/>
              <a:gd name="connsiteY33" fmla="*/ 771531 h 6858000"/>
              <a:gd name="connsiteX34" fmla="*/ 10881993 w 12192000"/>
              <a:gd name="connsiteY34" fmla="*/ 740051 h 6858000"/>
              <a:gd name="connsiteX35" fmla="*/ 11599515 w 12192000"/>
              <a:gd name="connsiteY35" fmla="*/ 735166 h 6858000"/>
              <a:gd name="connsiteX36" fmla="*/ 11550667 w 12192000"/>
              <a:gd name="connsiteY36" fmla="*/ 738965 h 6858000"/>
              <a:gd name="connsiteX37" fmla="*/ 11514845 w 12192000"/>
              <a:gd name="connsiteY37" fmla="*/ 746563 h 6858000"/>
              <a:gd name="connsiteX38" fmla="*/ 11514845 w 12192000"/>
              <a:gd name="connsiteY38" fmla="*/ 918617 h 6858000"/>
              <a:gd name="connsiteX39" fmla="*/ 11514845 w 12192000"/>
              <a:gd name="connsiteY39" fmla="*/ 924045 h 6858000"/>
              <a:gd name="connsiteX40" fmla="*/ 11536012 w 12192000"/>
              <a:gd name="connsiteY40" fmla="*/ 945212 h 6858000"/>
              <a:gd name="connsiteX41" fmla="*/ 11536555 w 12192000"/>
              <a:gd name="connsiteY41" fmla="*/ 945212 h 6858000"/>
              <a:gd name="connsiteX42" fmla="*/ 11562607 w 12192000"/>
              <a:gd name="connsiteY42" fmla="*/ 945212 h 6858000"/>
              <a:gd name="connsiteX43" fmla="*/ 11562607 w 12192000"/>
              <a:gd name="connsiteY43" fmla="*/ 779129 h 6858000"/>
              <a:gd name="connsiteX44" fmla="*/ 11577261 w 12192000"/>
              <a:gd name="connsiteY44" fmla="*/ 776958 h 6858000"/>
              <a:gd name="connsiteX45" fmla="*/ 11596258 w 12192000"/>
              <a:gd name="connsiteY45" fmla="*/ 775872 h 6858000"/>
              <a:gd name="connsiteX46" fmla="*/ 11616883 w 12192000"/>
              <a:gd name="connsiteY46" fmla="*/ 779129 h 6858000"/>
              <a:gd name="connsiteX47" fmla="*/ 11630451 w 12192000"/>
              <a:gd name="connsiteY47" fmla="*/ 789441 h 6858000"/>
              <a:gd name="connsiteX48" fmla="*/ 11637507 w 12192000"/>
              <a:gd name="connsiteY48" fmla="*/ 808437 h 6858000"/>
              <a:gd name="connsiteX49" fmla="*/ 11639678 w 12192000"/>
              <a:gd name="connsiteY49" fmla="*/ 836661 h 6858000"/>
              <a:gd name="connsiteX50" fmla="*/ 11639678 w 12192000"/>
              <a:gd name="connsiteY50" fmla="*/ 918074 h 6858000"/>
              <a:gd name="connsiteX51" fmla="*/ 11639678 w 12192000"/>
              <a:gd name="connsiteY51" fmla="*/ 923502 h 6858000"/>
              <a:gd name="connsiteX52" fmla="*/ 11660845 w 12192000"/>
              <a:gd name="connsiteY52" fmla="*/ 944669 h 6858000"/>
              <a:gd name="connsiteX53" fmla="*/ 11687441 w 12192000"/>
              <a:gd name="connsiteY53" fmla="*/ 944669 h 6858000"/>
              <a:gd name="connsiteX54" fmla="*/ 11687441 w 12192000"/>
              <a:gd name="connsiteY54" fmla="*/ 829605 h 6858000"/>
              <a:gd name="connsiteX55" fmla="*/ 11682013 w 12192000"/>
              <a:gd name="connsiteY55" fmla="*/ 791069 h 6858000"/>
              <a:gd name="connsiteX56" fmla="*/ 11667902 w 12192000"/>
              <a:gd name="connsiteY56" fmla="*/ 761218 h 6858000"/>
              <a:gd name="connsiteX57" fmla="*/ 11641306 w 12192000"/>
              <a:gd name="connsiteY57" fmla="*/ 742221 h 6858000"/>
              <a:gd name="connsiteX58" fmla="*/ 11599515 w 12192000"/>
              <a:gd name="connsiteY58" fmla="*/ 735166 h 6858000"/>
              <a:gd name="connsiteX59" fmla="*/ 11026367 w 12192000"/>
              <a:gd name="connsiteY59" fmla="*/ 735166 h 6858000"/>
              <a:gd name="connsiteX60" fmla="*/ 10977519 w 12192000"/>
              <a:gd name="connsiteY60" fmla="*/ 738965 h 6858000"/>
              <a:gd name="connsiteX61" fmla="*/ 10941697 w 12192000"/>
              <a:gd name="connsiteY61" fmla="*/ 746563 h 6858000"/>
              <a:gd name="connsiteX62" fmla="*/ 10941697 w 12192000"/>
              <a:gd name="connsiteY62" fmla="*/ 918617 h 6858000"/>
              <a:gd name="connsiteX63" fmla="*/ 10941697 w 12192000"/>
              <a:gd name="connsiteY63" fmla="*/ 924045 h 6858000"/>
              <a:gd name="connsiteX64" fmla="*/ 10962864 w 12192000"/>
              <a:gd name="connsiteY64" fmla="*/ 945212 h 6858000"/>
              <a:gd name="connsiteX65" fmla="*/ 10963407 w 12192000"/>
              <a:gd name="connsiteY65" fmla="*/ 945212 h 6858000"/>
              <a:gd name="connsiteX66" fmla="*/ 10989459 w 12192000"/>
              <a:gd name="connsiteY66" fmla="*/ 945212 h 6858000"/>
              <a:gd name="connsiteX67" fmla="*/ 10989459 w 12192000"/>
              <a:gd name="connsiteY67" fmla="*/ 779129 h 6858000"/>
              <a:gd name="connsiteX68" fmla="*/ 11004114 w 12192000"/>
              <a:gd name="connsiteY68" fmla="*/ 776958 h 6858000"/>
              <a:gd name="connsiteX69" fmla="*/ 11023110 w 12192000"/>
              <a:gd name="connsiteY69" fmla="*/ 775872 h 6858000"/>
              <a:gd name="connsiteX70" fmla="*/ 11043735 w 12192000"/>
              <a:gd name="connsiteY70" fmla="*/ 779129 h 6858000"/>
              <a:gd name="connsiteX71" fmla="*/ 11057303 w 12192000"/>
              <a:gd name="connsiteY71" fmla="*/ 789441 h 6858000"/>
              <a:gd name="connsiteX72" fmla="*/ 11064359 w 12192000"/>
              <a:gd name="connsiteY72" fmla="*/ 808437 h 6858000"/>
              <a:gd name="connsiteX73" fmla="*/ 11066530 w 12192000"/>
              <a:gd name="connsiteY73" fmla="*/ 836661 h 6858000"/>
              <a:gd name="connsiteX74" fmla="*/ 11066530 w 12192000"/>
              <a:gd name="connsiteY74" fmla="*/ 918074 h 6858000"/>
              <a:gd name="connsiteX75" fmla="*/ 11066530 w 12192000"/>
              <a:gd name="connsiteY75" fmla="*/ 923502 h 6858000"/>
              <a:gd name="connsiteX76" fmla="*/ 11087697 w 12192000"/>
              <a:gd name="connsiteY76" fmla="*/ 944669 h 6858000"/>
              <a:gd name="connsiteX77" fmla="*/ 11114293 w 12192000"/>
              <a:gd name="connsiteY77" fmla="*/ 944669 h 6858000"/>
              <a:gd name="connsiteX78" fmla="*/ 11114293 w 12192000"/>
              <a:gd name="connsiteY78" fmla="*/ 829605 h 6858000"/>
              <a:gd name="connsiteX79" fmla="*/ 11108865 w 12192000"/>
              <a:gd name="connsiteY79" fmla="*/ 791069 h 6858000"/>
              <a:gd name="connsiteX80" fmla="*/ 11094754 w 12192000"/>
              <a:gd name="connsiteY80" fmla="*/ 761218 h 6858000"/>
              <a:gd name="connsiteX81" fmla="*/ 11068158 w 12192000"/>
              <a:gd name="connsiteY81" fmla="*/ 742221 h 6858000"/>
              <a:gd name="connsiteX82" fmla="*/ 11026367 w 12192000"/>
              <a:gd name="connsiteY82" fmla="*/ 735166 h 6858000"/>
              <a:gd name="connsiteX83" fmla="*/ 11405208 w 12192000"/>
              <a:gd name="connsiteY83" fmla="*/ 732995 h 6858000"/>
              <a:gd name="connsiteX84" fmla="*/ 11369929 w 12192000"/>
              <a:gd name="connsiteY84" fmla="*/ 740050 h 6858000"/>
              <a:gd name="connsiteX85" fmla="*/ 11339535 w 12192000"/>
              <a:gd name="connsiteY85" fmla="*/ 760133 h 6858000"/>
              <a:gd name="connsiteX86" fmla="*/ 11318367 w 12192000"/>
              <a:gd name="connsiteY86" fmla="*/ 793783 h 6858000"/>
              <a:gd name="connsiteX87" fmla="*/ 11310226 w 12192000"/>
              <a:gd name="connsiteY87" fmla="*/ 841003 h 6858000"/>
              <a:gd name="connsiteX88" fmla="*/ 11316739 w 12192000"/>
              <a:gd name="connsiteY88" fmla="*/ 882252 h 6858000"/>
              <a:gd name="connsiteX89" fmla="*/ 11335735 w 12192000"/>
              <a:gd name="connsiteY89" fmla="*/ 915903 h 6858000"/>
              <a:gd name="connsiteX90" fmla="*/ 11368300 w 12192000"/>
              <a:gd name="connsiteY90" fmla="*/ 938156 h 6858000"/>
              <a:gd name="connsiteX91" fmla="*/ 11414977 w 12192000"/>
              <a:gd name="connsiteY91" fmla="*/ 946297 h 6858000"/>
              <a:gd name="connsiteX92" fmla="*/ 11435602 w 12192000"/>
              <a:gd name="connsiteY92" fmla="*/ 945212 h 6858000"/>
              <a:gd name="connsiteX93" fmla="*/ 11454598 w 12192000"/>
              <a:gd name="connsiteY93" fmla="*/ 942498 h 6858000"/>
              <a:gd name="connsiteX94" fmla="*/ 11470338 w 12192000"/>
              <a:gd name="connsiteY94" fmla="*/ 938699 h 6858000"/>
              <a:gd name="connsiteX95" fmla="*/ 11481193 w 12192000"/>
              <a:gd name="connsiteY95" fmla="*/ 934357 h 6858000"/>
              <a:gd name="connsiteX96" fmla="*/ 11477937 w 12192000"/>
              <a:gd name="connsiteY96" fmla="*/ 913190 h 6858000"/>
              <a:gd name="connsiteX97" fmla="*/ 11459483 w 12192000"/>
              <a:gd name="connsiteY97" fmla="*/ 900706 h 6858000"/>
              <a:gd name="connsiteX98" fmla="*/ 11452970 w 12192000"/>
              <a:gd name="connsiteY98" fmla="*/ 902334 h 6858000"/>
              <a:gd name="connsiteX99" fmla="*/ 11421490 w 12192000"/>
              <a:gd name="connsiteY99" fmla="*/ 905591 h 6858000"/>
              <a:gd name="connsiteX100" fmla="*/ 11376984 w 12192000"/>
              <a:gd name="connsiteY100" fmla="*/ 892022 h 6858000"/>
              <a:gd name="connsiteX101" fmla="*/ 11359617 w 12192000"/>
              <a:gd name="connsiteY101" fmla="*/ 854029 h 6858000"/>
              <a:gd name="connsiteX102" fmla="*/ 11493677 w 12192000"/>
              <a:gd name="connsiteY102" fmla="*/ 854029 h 6858000"/>
              <a:gd name="connsiteX103" fmla="*/ 11494219 w 12192000"/>
              <a:gd name="connsiteY103" fmla="*/ 845345 h 6858000"/>
              <a:gd name="connsiteX104" fmla="*/ 11494219 w 12192000"/>
              <a:gd name="connsiteY104" fmla="*/ 836661 h 6858000"/>
              <a:gd name="connsiteX105" fmla="*/ 11470881 w 12192000"/>
              <a:gd name="connsiteY105" fmla="*/ 759047 h 6858000"/>
              <a:gd name="connsiteX106" fmla="*/ 11405208 w 12192000"/>
              <a:gd name="connsiteY106" fmla="*/ 732995 h 6858000"/>
              <a:gd name="connsiteX107" fmla="*/ 11753113 w 12192000"/>
              <a:gd name="connsiteY107" fmla="*/ 676006 h 6858000"/>
              <a:gd name="connsiteX108" fmla="*/ 11726518 w 12192000"/>
              <a:gd name="connsiteY108" fmla="*/ 680348 h 6858000"/>
              <a:gd name="connsiteX109" fmla="*/ 11705894 w 12192000"/>
              <a:gd name="connsiteY109" fmla="*/ 704229 h 6858000"/>
              <a:gd name="connsiteX110" fmla="*/ 11705894 w 12192000"/>
              <a:gd name="connsiteY110" fmla="*/ 860543 h 6858000"/>
              <a:gd name="connsiteX111" fmla="*/ 11709150 w 12192000"/>
              <a:gd name="connsiteY111" fmla="*/ 896907 h 6858000"/>
              <a:gd name="connsiteX112" fmla="*/ 11721091 w 12192000"/>
              <a:gd name="connsiteY112" fmla="*/ 924045 h 6858000"/>
              <a:gd name="connsiteX113" fmla="*/ 11744429 w 12192000"/>
              <a:gd name="connsiteY113" fmla="*/ 940870 h 6858000"/>
              <a:gd name="connsiteX114" fmla="*/ 11780793 w 12192000"/>
              <a:gd name="connsiteY114" fmla="*/ 946840 h 6858000"/>
              <a:gd name="connsiteX115" fmla="*/ 11812273 w 12192000"/>
              <a:gd name="connsiteY115" fmla="*/ 943041 h 6858000"/>
              <a:gd name="connsiteX116" fmla="*/ 11818786 w 12192000"/>
              <a:gd name="connsiteY116" fmla="*/ 941413 h 6858000"/>
              <a:gd name="connsiteX117" fmla="*/ 11830726 w 12192000"/>
              <a:gd name="connsiteY117" fmla="*/ 921874 h 6858000"/>
              <a:gd name="connsiteX118" fmla="*/ 11825841 w 12192000"/>
              <a:gd name="connsiteY118" fmla="*/ 898535 h 6858000"/>
              <a:gd name="connsiteX119" fmla="*/ 11810102 w 12192000"/>
              <a:gd name="connsiteY119" fmla="*/ 903420 h 6858000"/>
              <a:gd name="connsiteX120" fmla="*/ 11787306 w 12192000"/>
              <a:gd name="connsiteY120" fmla="*/ 906134 h 6858000"/>
              <a:gd name="connsiteX121" fmla="*/ 11760711 w 12192000"/>
              <a:gd name="connsiteY121" fmla="*/ 895821 h 6858000"/>
              <a:gd name="connsiteX122" fmla="*/ 11753113 w 12192000"/>
              <a:gd name="connsiteY122" fmla="*/ 860543 h 6858000"/>
              <a:gd name="connsiteX123" fmla="*/ 11753113 w 12192000"/>
              <a:gd name="connsiteY123" fmla="*/ 777501 h 6858000"/>
              <a:gd name="connsiteX124" fmla="*/ 11804674 w 12192000"/>
              <a:gd name="connsiteY124" fmla="*/ 777501 h 6858000"/>
              <a:gd name="connsiteX125" fmla="*/ 11825841 w 12192000"/>
              <a:gd name="connsiteY125" fmla="*/ 756334 h 6858000"/>
              <a:gd name="connsiteX126" fmla="*/ 11825841 w 12192000"/>
              <a:gd name="connsiteY126" fmla="*/ 739508 h 6858000"/>
              <a:gd name="connsiteX127" fmla="*/ 11753113 w 12192000"/>
              <a:gd name="connsiteY127" fmla="*/ 739508 h 6858000"/>
              <a:gd name="connsiteX128" fmla="*/ 10315900 w 12192000"/>
              <a:gd name="connsiteY128" fmla="*/ 658094 h 6858000"/>
              <a:gd name="connsiteX129" fmla="*/ 10292562 w 12192000"/>
              <a:gd name="connsiteY129" fmla="*/ 684147 h 6858000"/>
              <a:gd name="connsiteX130" fmla="*/ 10315900 w 12192000"/>
              <a:gd name="connsiteY130" fmla="*/ 708028 h 6858000"/>
              <a:gd name="connsiteX131" fmla="*/ 10339238 w 12192000"/>
              <a:gd name="connsiteY131" fmla="*/ 681976 h 6858000"/>
              <a:gd name="connsiteX132" fmla="*/ 10315900 w 12192000"/>
              <a:gd name="connsiteY132" fmla="*/ 658094 h 6858000"/>
              <a:gd name="connsiteX133" fmla="*/ 10889050 w 12192000"/>
              <a:gd name="connsiteY133" fmla="*/ 651039 h 6858000"/>
              <a:gd name="connsiteX134" fmla="*/ 10868425 w 12192000"/>
              <a:gd name="connsiteY134" fmla="*/ 658637 h 6858000"/>
              <a:gd name="connsiteX135" fmla="*/ 10859741 w 12192000"/>
              <a:gd name="connsiteY135" fmla="*/ 680348 h 6858000"/>
              <a:gd name="connsiteX136" fmla="*/ 10868425 w 12192000"/>
              <a:gd name="connsiteY136" fmla="*/ 701515 h 6858000"/>
              <a:gd name="connsiteX137" fmla="*/ 10889050 w 12192000"/>
              <a:gd name="connsiteY137" fmla="*/ 709114 h 6858000"/>
              <a:gd name="connsiteX138" fmla="*/ 10909132 w 12192000"/>
              <a:gd name="connsiteY138" fmla="*/ 701515 h 6858000"/>
              <a:gd name="connsiteX139" fmla="*/ 10917816 w 12192000"/>
              <a:gd name="connsiteY139" fmla="*/ 680348 h 6858000"/>
              <a:gd name="connsiteX140" fmla="*/ 10909132 w 12192000"/>
              <a:gd name="connsiteY140" fmla="*/ 658637 h 6858000"/>
              <a:gd name="connsiteX141" fmla="*/ 10889050 w 12192000"/>
              <a:gd name="connsiteY141" fmla="*/ 651039 h 6858000"/>
              <a:gd name="connsiteX142" fmla="*/ 9964195 w 12192000"/>
              <a:gd name="connsiteY142" fmla="*/ 647783 h 6858000"/>
              <a:gd name="connsiteX143" fmla="*/ 9938686 w 12192000"/>
              <a:gd name="connsiteY143" fmla="*/ 674921 h 6858000"/>
              <a:gd name="connsiteX144" fmla="*/ 9964195 w 12192000"/>
              <a:gd name="connsiteY144" fmla="*/ 700431 h 6858000"/>
              <a:gd name="connsiteX145" fmla="*/ 9988077 w 12192000"/>
              <a:gd name="connsiteY145" fmla="*/ 673293 h 6858000"/>
              <a:gd name="connsiteX146" fmla="*/ 9964195 w 12192000"/>
              <a:gd name="connsiteY146" fmla="*/ 647783 h 6858000"/>
              <a:gd name="connsiteX147" fmla="*/ 8724004 w 12192000"/>
              <a:gd name="connsiteY147" fmla="*/ 623359 h 6858000"/>
              <a:gd name="connsiteX148" fmla="*/ 8576918 w 12192000"/>
              <a:gd name="connsiteY148" fmla="*/ 804096 h 6858000"/>
              <a:gd name="connsiteX149" fmla="*/ 8698495 w 12192000"/>
              <a:gd name="connsiteY149" fmla="*/ 962039 h 6858000"/>
              <a:gd name="connsiteX150" fmla="*/ 8815187 w 12192000"/>
              <a:gd name="connsiteY150" fmla="*/ 888766 h 6858000"/>
              <a:gd name="connsiteX151" fmla="*/ 8872176 w 12192000"/>
              <a:gd name="connsiteY151" fmla="*/ 947927 h 6858000"/>
              <a:gd name="connsiteX152" fmla="*/ 8941105 w 12192000"/>
              <a:gd name="connsiteY152" fmla="*/ 895822 h 6858000"/>
              <a:gd name="connsiteX153" fmla="*/ 8991582 w 12192000"/>
              <a:gd name="connsiteY153" fmla="*/ 947927 h 6858000"/>
              <a:gd name="connsiteX154" fmla="*/ 9036088 w 12192000"/>
              <a:gd name="connsiteY154" fmla="*/ 922960 h 6858000"/>
              <a:gd name="connsiteX155" fmla="*/ 9088192 w 12192000"/>
              <a:gd name="connsiteY155" fmla="*/ 1080902 h 6858000"/>
              <a:gd name="connsiteX156" fmla="*/ 9075708 w 12192000"/>
              <a:gd name="connsiteY156" fmla="*/ 948469 h 6858000"/>
              <a:gd name="connsiteX157" fmla="*/ 9125099 w 12192000"/>
              <a:gd name="connsiteY157" fmla="*/ 771531 h 6858000"/>
              <a:gd name="connsiteX158" fmla="*/ 9151694 w 12192000"/>
              <a:gd name="connsiteY158" fmla="*/ 824179 h 6858000"/>
              <a:gd name="connsiteX159" fmla="*/ 9146810 w 12192000"/>
              <a:gd name="connsiteY159" fmla="*/ 870313 h 6858000"/>
              <a:gd name="connsiteX160" fmla="*/ 9086021 w 12192000"/>
              <a:gd name="connsiteY160" fmla="*/ 930016 h 6858000"/>
              <a:gd name="connsiteX161" fmla="*/ 9109359 w 12192000"/>
              <a:gd name="connsiteY161" fmla="*/ 948469 h 6858000"/>
              <a:gd name="connsiteX162" fmla="*/ 9183717 w 12192000"/>
              <a:gd name="connsiteY162" fmla="*/ 875198 h 6858000"/>
              <a:gd name="connsiteX163" fmla="*/ 9228223 w 12192000"/>
              <a:gd name="connsiteY163" fmla="*/ 841547 h 6858000"/>
              <a:gd name="connsiteX164" fmla="*/ 9227680 w 12192000"/>
              <a:gd name="connsiteY164" fmla="*/ 856201 h 6858000"/>
              <a:gd name="connsiteX165" fmla="*/ 9281955 w 12192000"/>
              <a:gd name="connsiteY165" fmla="*/ 932730 h 6858000"/>
              <a:gd name="connsiteX166" fmla="*/ 9341658 w 12192000"/>
              <a:gd name="connsiteY166" fmla="*/ 886595 h 6858000"/>
              <a:gd name="connsiteX167" fmla="*/ 9343286 w 12192000"/>
              <a:gd name="connsiteY167" fmla="*/ 931101 h 6858000"/>
              <a:gd name="connsiteX168" fmla="*/ 9231479 w 12192000"/>
              <a:gd name="connsiteY168" fmla="*/ 1049422 h 6858000"/>
              <a:gd name="connsiteX169" fmla="*/ 9290639 w 12192000"/>
              <a:gd name="connsiteY169" fmla="*/ 1111839 h 6858000"/>
              <a:gd name="connsiteX170" fmla="*/ 9381822 w 12192000"/>
              <a:gd name="connsiteY170" fmla="*/ 943585 h 6858000"/>
              <a:gd name="connsiteX171" fmla="*/ 9444239 w 12192000"/>
              <a:gd name="connsiteY171" fmla="*/ 914819 h 6858000"/>
              <a:gd name="connsiteX172" fmla="*/ 9507741 w 12192000"/>
              <a:gd name="connsiteY172" fmla="*/ 947927 h 6858000"/>
              <a:gd name="connsiteX173" fmla="*/ 9605980 w 12192000"/>
              <a:gd name="connsiteY173" fmla="*/ 881168 h 6858000"/>
              <a:gd name="connsiteX174" fmla="*/ 9637459 w 12192000"/>
              <a:gd name="connsiteY174" fmla="*/ 947927 h 6858000"/>
              <a:gd name="connsiteX175" fmla="*/ 9701504 w 12192000"/>
              <a:gd name="connsiteY175" fmla="*/ 775331 h 6858000"/>
              <a:gd name="connsiteX176" fmla="*/ 9754694 w 12192000"/>
              <a:gd name="connsiteY176" fmla="*/ 962039 h 6858000"/>
              <a:gd name="connsiteX177" fmla="*/ 9825795 w 12192000"/>
              <a:gd name="connsiteY177" fmla="*/ 797583 h 6858000"/>
              <a:gd name="connsiteX178" fmla="*/ 9887669 w 12192000"/>
              <a:gd name="connsiteY178" fmla="*/ 947927 h 6858000"/>
              <a:gd name="connsiteX179" fmla="*/ 9947372 w 12192000"/>
              <a:gd name="connsiteY179" fmla="*/ 863257 h 6858000"/>
              <a:gd name="connsiteX180" fmla="*/ 10009788 w 12192000"/>
              <a:gd name="connsiteY180" fmla="*/ 947927 h 6858000"/>
              <a:gd name="connsiteX181" fmla="*/ 10065149 w 12192000"/>
              <a:gd name="connsiteY181" fmla="*/ 896365 h 6858000"/>
              <a:gd name="connsiteX182" fmla="*/ 10094458 w 12192000"/>
              <a:gd name="connsiteY182" fmla="*/ 947927 h 6858000"/>
              <a:gd name="connsiteX183" fmla="*/ 10170444 w 12192000"/>
              <a:gd name="connsiteY183" fmla="*/ 775873 h 6858000"/>
              <a:gd name="connsiteX184" fmla="*/ 10252399 w 12192000"/>
              <a:gd name="connsiteY184" fmla="*/ 947927 h 6858000"/>
              <a:gd name="connsiteX185" fmla="*/ 10305590 w 12192000"/>
              <a:gd name="connsiteY185" fmla="*/ 889852 h 6858000"/>
              <a:gd name="connsiteX186" fmla="*/ 10351724 w 12192000"/>
              <a:gd name="connsiteY186" fmla="*/ 947927 h 6858000"/>
              <a:gd name="connsiteX187" fmla="*/ 10378861 w 12192000"/>
              <a:gd name="connsiteY187" fmla="*/ 932730 h 6858000"/>
              <a:gd name="connsiteX188" fmla="*/ 10334898 w 12192000"/>
              <a:gd name="connsiteY188" fmla="*/ 782929 h 6858000"/>
              <a:gd name="connsiteX189" fmla="*/ 10316445 w 12192000"/>
              <a:gd name="connsiteY189" fmla="*/ 740051 h 6858000"/>
              <a:gd name="connsiteX190" fmla="*/ 10297991 w 12192000"/>
              <a:gd name="connsiteY190" fmla="*/ 743851 h 6858000"/>
              <a:gd name="connsiteX191" fmla="*/ 10259998 w 12192000"/>
              <a:gd name="connsiteY191" fmla="*/ 908305 h 6858000"/>
              <a:gd name="connsiteX192" fmla="*/ 10177499 w 12192000"/>
              <a:gd name="connsiteY192" fmla="*/ 721055 h 6858000"/>
              <a:gd name="connsiteX193" fmla="*/ 10099886 w 12192000"/>
              <a:gd name="connsiteY193" fmla="*/ 870313 h 6858000"/>
              <a:gd name="connsiteX194" fmla="*/ 10094458 w 12192000"/>
              <a:gd name="connsiteY194" fmla="*/ 801383 h 6858000"/>
              <a:gd name="connsiteX195" fmla="*/ 10098257 w 12192000"/>
              <a:gd name="connsiteY195" fmla="*/ 764475 h 6858000"/>
              <a:gd name="connsiteX196" fmla="*/ 10060807 w 12192000"/>
              <a:gd name="connsiteY196" fmla="*/ 738423 h 6858000"/>
              <a:gd name="connsiteX197" fmla="*/ 10016302 w 12192000"/>
              <a:gd name="connsiteY197" fmla="*/ 909934 h 6858000"/>
              <a:gd name="connsiteX198" fmla="*/ 9980480 w 12192000"/>
              <a:gd name="connsiteY198" fmla="*/ 786186 h 6858000"/>
              <a:gd name="connsiteX199" fmla="*/ 9943572 w 12192000"/>
              <a:gd name="connsiteY199" fmla="*/ 737880 h 6858000"/>
              <a:gd name="connsiteX200" fmla="*/ 9897981 w 12192000"/>
              <a:gd name="connsiteY200" fmla="*/ 901250 h 6858000"/>
              <a:gd name="connsiteX201" fmla="*/ 9830137 w 12192000"/>
              <a:gd name="connsiteY201" fmla="*/ 740051 h 6858000"/>
              <a:gd name="connsiteX202" fmla="*/ 9762293 w 12192000"/>
              <a:gd name="connsiteY202" fmla="*/ 892566 h 6858000"/>
              <a:gd name="connsiteX203" fmla="*/ 9703132 w 12192000"/>
              <a:gd name="connsiteY203" fmla="*/ 721055 h 6858000"/>
              <a:gd name="connsiteX204" fmla="*/ 9642887 w 12192000"/>
              <a:gd name="connsiteY204" fmla="*/ 842632 h 6858000"/>
              <a:gd name="connsiteX205" fmla="*/ 9636916 w 12192000"/>
              <a:gd name="connsiteY205" fmla="*/ 841547 h 6858000"/>
              <a:gd name="connsiteX206" fmla="*/ 9636374 w 12192000"/>
              <a:gd name="connsiteY206" fmla="*/ 805725 h 6858000"/>
              <a:gd name="connsiteX207" fmla="*/ 9602723 w 12192000"/>
              <a:gd name="connsiteY207" fmla="*/ 734624 h 6858000"/>
              <a:gd name="connsiteX208" fmla="*/ 9515882 w 12192000"/>
              <a:gd name="connsiteY208" fmla="*/ 911562 h 6858000"/>
              <a:gd name="connsiteX209" fmla="*/ 9480061 w 12192000"/>
              <a:gd name="connsiteY209" fmla="*/ 894737 h 6858000"/>
              <a:gd name="connsiteX210" fmla="*/ 9552790 w 12192000"/>
              <a:gd name="connsiteY210" fmla="*/ 793784 h 6858000"/>
              <a:gd name="connsiteX211" fmla="*/ 9495800 w 12192000"/>
              <a:gd name="connsiteY211" fmla="*/ 734624 h 6858000"/>
              <a:gd name="connsiteX212" fmla="*/ 9418187 w 12192000"/>
              <a:gd name="connsiteY212" fmla="*/ 829606 h 6858000"/>
              <a:gd name="connsiteX213" fmla="*/ 9429584 w 12192000"/>
              <a:gd name="connsiteY213" fmla="*/ 889309 h 6858000"/>
              <a:gd name="connsiteX214" fmla="*/ 9381279 w 12192000"/>
              <a:gd name="connsiteY214" fmla="*/ 911562 h 6858000"/>
              <a:gd name="connsiteX215" fmla="*/ 9370967 w 12192000"/>
              <a:gd name="connsiteY215" fmla="*/ 775873 h 6858000"/>
              <a:gd name="connsiteX216" fmla="*/ 9334602 w 12192000"/>
              <a:gd name="connsiteY216" fmla="*/ 805182 h 6858000"/>
              <a:gd name="connsiteX217" fmla="*/ 9292268 w 12192000"/>
              <a:gd name="connsiteY217" fmla="*/ 892566 h 6858000"/>
              <a:gd name="connsiteX218" fmla="*/ 9270014 w 12192000"/>
              <a:gd name="connsiteY218" fmla="*/ 859457 h 6858000"/>
              <a:gd name="connsiteX219" fmla="*/ 9372052 w 12192000"/>
              <a:gd name="connsiteY219" fmla="*/ 761761 h 6858000"/>
              <a:gd name="connsiteX220" fmla="*/ 9338401 w 12192000"/>
              <a:gd name="connsiteY220" fmla="*/ 729196 h 6858000"/>
              <a:gd name="connsiteX221" fmla="*/ 9246133 w 12192000"/>
              <a:gd name="connsiteY221" fmla="*/ 785100 h 6858000"/>
              <a:gd name="connsiteX222" fmla="*/ 9191858 w 12192000"/>
              <a:gd name="connsiteY222" fmla="*/ 838833 h 6858000"/>
              <a:gd name="connsiteX223" fmla="*/ 9192943 w 12192000"/>
              <a:gd name="connsiteY223" fmla="*/ 823636 h 6858000"/>
              <a:gd name="connsiteX224" fmla="*/ 9128356 w 12192000"/>
              <a:gd name="connsiteY224" fmla="*/ 735709 h 6858000"/>
              <a:gd name="connsiteX225" fmla="*/ 9076252 w 12192000"/>
              <a:gd name="connsiteY225" fmla="*/ 775331 h 6858000"/>
              <a:gd name="connsiteX226" fmla="*/ 9055084 w 12192000"/>
              <a:gd name="connsiteY226" fmla="*/ 741137 h 6858000"/>
              <a:gd name="connsiteX227" fmla="*/ 9031746 w 12192000"/>
              <a:gd name="connsiteY227" fmla="*/ 747107 h 6858000"/>
              <a:gd name="connsiteX228" fmla="*/ 9037173 w 12192000"/>
              <a:gd name="connsiteY228" fmla="*/ 810067 h 6858000"/>
              <a:gd name="connsiteX229" fmla="*/ 8995924 w 12192000"/>
              <a:gd name="connsiteY229" fmla="*/ 915904 h 6858000"/>
              <a:gd name="connsiteX230" fmla="*/ 8967158 w 12192000"/>
              <a:gd name="connsiteY230" fmla="*/ 795412 h 6858000"/>
              <a:gd name="connsiteX231" fmla="*/ 8955760 w 12192000"/>
              <a:gd name="connsiteY231" fmla="*/ 793241 h 6858000"/>
              <a:gd name="connsiteX232" fmla="*/ 8926994 w 12192000"/>
              <a:gd name="connsiteY232" fmla="*/ 846974 h 6858000"/>
              <a:gd name="connsiteX233" fmla="*/ 8880317 w 12192000"/>
              <a:gd name="connsiteY233" fmla="*/ 911562 h 6858000"/>
              <a:gd name="connsiteX234" fmla="*/ 8855350 w 12192000"/>
              <a:gd name="connsiteY234" fmla="*/ 871941 h 6858000"/>
              <a:gd name="connsiteX235" fmla="*/ 8963359 w 12192000"/>
              <a:gd name="connsiteY235" fmla="*/ 778044 h 6858000"/>
              <a:gd name="connsiteX236" fmla="*/ 8930250 w 12192000"/>
              <a:gd name="connsiteY236" fmla="*/ 741680 h 6858000"/>
              <a:gd name="connsiteX237" fmla="*/ 8822243 w 12192000"/>
              <a:gd name="connsiteY237" fmla="*/ 822008 h 6858000"/>
              <a:gd name="connsiteX238" fmla="*/ 8708264 w 12192000"/>
              <a:gd name="connsiteY238" fmla="*/ 920789 h 6858000"/>
              <a:gd name="connsiteX239" fmla="*/ 8628479 w 12192000"/>
              <a:gd name="connsiteY239" fmla="*/ 798126 h 6858000"/>
              <a:gd name="connsiteX240" fmla="*/ 8721833 w 12192000"/>
              <a:gd name="connsiteY240" fmla="*/ 658638 h 6858000"/>
              <a:gd name="connsiteX241" fmla="*/ 8760369 w 12192000"/>
              <a:gd name="connsiteY241" fmla="*/ 722683 h 6858000"/>
              <a:gd name="connsiteX242" fmla="*/ 8806502 w 12192000"/>
              <a:gd name="connsiteY242" fmla="*/ 688490 h 6858000"/>
              <a:gd name="connsiteX243" fmla="*/ 8724004 w 12192000"/>
              <a:gd name="connsiteY243" fmla="*/ 623359 h 6858000"/>
              <a:gd name="connsiteX244" fmla="*/ 10614417 w 12192000"/>
              <a:gd name="connsiteY244" fmla="*/ 616845 h 6858000"/>
              <a:gd name="connsiteX245" fmla="*/ 10406543 w 12192000"/>
              <a:gd name="connsiteY245" fmla="*/ 831233 h 6858000"/>
              <a:gd name="connsiteX246" fmla="*/ 10478186 w 12192000"/>
              <a:gd name="connsiteY246" fmla="*/ 937071 h 6858000"/>
              <a:gd name="connsiteX247" fmla="*/ 10552001 w 12192000"/>
              <a:gd name="connsiteY247" fmla="*/ 938699 h 6858000"/>
              <a:gd name="connsiteX248" fmla="*/ 10582056 w 12192000"/>
              <a:gd name="connsiteY248" fmla="*/ 923637 h 6858000"/>
              <a:gd name="connsiteX249" fmla="*/ 10605742 w 12192000"/>
              <a:gd name="connsiteY249" fmla="*/ 902222 h 6858000"/>
              <a:gd name="connsiteX250" fmla="*/ 10584429 w 12192000"/>
              <a:gd name="connsiteY250" fmla="*/ 941210 h 6858000"/>
              <a:gd name="connsiteX251" fmla="*/ 10538973 w 12192000"/>
              <a:gd name="connsiteY251" fmla="*/ 962039 h 6858000"/>
              <a:gd name="connsiteX252" fmla="*/ 10589992 w 12192000"/>
              <a:gd name="connsiteY252" fmla="*/ 976150 h 6858000"/>
              <a:gd name="connsiteX253" fmla="*/ 10709398 w 12192000"/>
              <a:gd name="connsiteY253" fmla="*/ 937072 h 6858000"/>
              <a:gd name="connsiteX254" fmla="*/ 10649152 w 12192000"/>
              <a:gd name="connsiteY254" fmla="*/ 883339 h 6858000"/>
              <a:gd name="connsiteX255" fmla="*/ 10708312 w 12192000"/>
              <a:gd name="connsiteY255" fmla="*/ 912648 h 6858000"/>
              <a:gd name="connsiteX256" fmla="*/ 10795153 w 12192000"/>
              <a:gd name="connsiteY256" fmla="*/ 826350 h 6858000"/>
              <a:gd name="connsiteX257" fmla="*/ 10795631 w 12192000"/>
              <a:gd name="connsiteY257" fmla="*/ 825891 h 6858000"/>
              <a:gd name="connsiteX258" fmla="*/ 10795697 w 12192000"/>
              <a:gd name="connsiteY258" fmla="*/ 826349 h 6858000"/>
              <a:gd name="connsiteX259" fmla="*/ 10801382 w 12192000"/>
              <a:gd name="connsiteY259" fmla="*/ 820371 h 6858000"/>
              <a:gd name="connsiteX260" fmla="*/ 10795631 w 12192000"/>
              <a:gd name="connsiteY260" fmla="*/ 825891 h 6858000"/>
              <a:gd name="connsiteX261" fmla="*/ 10795154 w 12192000"/>
              <a:gd name="connsiteY261" fmla="*/ 822549 h 6858000"/>
              <a:gd name="connsiteX262" fmla="*/ 10727853 w 12192000"/>
              <a:gd name="connsiteY262" fmla="*/ 685232 h 6858000"/>
              <a:gd name="connsiteX263" fmla="*/ 10623644 w 12192000"/>
              <a:gd name="connsiteY263" fmla="*/ 620644 h 6858000"/>
              <a:gd name="connsiteX264" fmla="*/ 10614417 w 12192000"/>
              <a:gd name="connsiteY264" fmla="*/ 616845 h 6858000"/>
              <a:gd name="connsiteX265" fmla="*/ 0 w 12192000"/>
              <a:gd name="connsiteY265" fmla="*/ 0 h 6858000"/>
              <a:gd name="connsiteX266" fmla="*/ 12192000 w 12192000"/>
              <a:gd name="connsiteY266" fmla="*/ 0 h 6858000"/>
              <a:gd name="connsiteX267" fmla="*/ 12192000 w 12192000"/>
              <a:gd name="connsiteY267" fmla="*/ 6858000 h 6858000"/>
              <a:gd name="connsiteX268" fmla="*/ 0 w 12192000"/>
              <a:gd name="connsiteY26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12192000" h="6858000">
                <a:moveTo>
                  <a:pt x="9343829" y="959868"/>
                </a:moveTo>
                <a:cubicBezTo>
                  <a:pt x="9341658" y="1057021"/>
                  <a:pt x="9319405" y="1078731"/>
                  <a:pt x="9294981" y="1078731"/>
                </a:cubicBezTo>
                <a:cubicBezTo>
                  <a:pt x="9279784" y="1078731"/>
                  <a:pt x="9271643" y="1064077"/>
                  <a:pt x="9271643" y="1047794"/>
                </a:cubicBezTo>
                <a:cubicBezTo>
                  <a:pt x="9271643" y="1003831"/>
                  <a:pt x="9304208" y="979949"/>
                  <a:pt x="9343829" y="959868"/>
                </a:cubicBezTo>
                <a:close/>
                <a:moveTo>
                  <a:pt x="11404665" y="772073"/>
                </a:moveTo>
                <a:cubicBezTo>
                  <a:pt x="11411721" y="772073"/>
                  <a:pt x="11417691" y="773159"/>
                  <a:pt x="11422576" y="775872"/>
                </a:cubicBezTo>
                <a:cubicBezTo>
                  <a:pt x="11428003" y="778586"/>
                  <a:pt x="11432345" y="781843"/>
                  <a:pt x="11435602" y="786185"/>
                </a:cubicBezTo>
                <a:cubicBezTo>
                  <a:pt x="11439401" y="790527"/>
                  <a:pt x="11442115" y="795411"/>
                  <a:pt x="11443743" y="801382"/>
                </a:cubicBezTo>
                <a:cubicBezTo>
                  <a:pt x="11445371" y="807352"/>
                  <a:pt x="11446457" y="813323"/>
                  <a:pt x="11446457" y="819836"/>
                </a:cubicBezTo>
                <a:lnTo>
                  <a:pt x="11359074" y="819836"/>
                </a:lnTo>
                <a:cubicBezTo>
                  <a:pt x="11360159" y="813865"/>
                  <a:pt x="11361245" y="808438"/>
                  <a:pt x="11363416" y="802467"/>
                </a:cubicBezTo>
                <a:cubicBezTo>
                  <a:pt x="11365587" y="796497"/>
                  <a:pt x="11368843" y="791612"/>
                  <a:pt x="11372100" y="787270"/>
                </a:cubicBezTo>
                <a:cubicBezTo>
                  <a:pt x="11375356" y="782928"/>
                  <a:pt x="11380241" y="779129"/>
                  <a:pt x="11385668" y="776415"/>
                </a:cubicBezTo>
                <a:cubicBezTo>
                  <a:pt x="11391096" y="773701"/>
                  <a:pt x="11397610" y="772073"/>
                  <a:pt x="11404665" y="772073"/>
                </a:cubicBezTo>
                <a:close/>
                <a:moveTo>
                  <a:pt x="9493087" y="766103"/>
                </a:moveTo>
                <a:cubicBezTo>
                  <a:pt x="9507741" y="766103"/>
                  <a:pt x="9516425" y="779673"/>
                  <a:pt x="9514797" y="799212"/>
                </a:cubicBezTo>
                <a:cubicBezTo>
                  <a:pt x="9513168" y="822008"/>
                  <a:pt x="9496343" y="848602"/>
                  <a:pt x="9467034" y="869227"/>
                </a:cubicBezTo>
                <a:cubicBezTo>
                  <a:pt x="9452380" y="825807"/>
                  <a:pt x="9463778" y="766103"/>
                  <a:pt x="9493087" y="766103"/>
                </a:cubicBezTo>
                <a:close/>
                <a:moveTo>
                  <a:pt x="11119177" y="740594"/>
                </a:moveTo>
                <a:lnTo>
                  <a:pt x="11189735" y="924046"/>
                </a:lnTo>
                <a:cubicBezTo>
                  <a:pt x="11196248" y="937614"/>
                  <a:pt x="11200590" y="944670"/>
                  <a:pt x="11213074" y="944670"/>
                </a:cubicBezTo>
                <a:lnTo>
                  <a:pt x="11236955" y="944670"/>
                </a:lnTo>
                <a:lnTo>
                  <a:pt x="11314569" y="740594"/>
                </a:lnTo>
                <a:lnTo>
                  <a:pt x="11278747" y="740594"/>
                </a:lnTo>
                <a:cubicBezTo>
                  <a:pt x="11266264" y="740594"/>
                  <a:pt x="11263007" y="747107"/>
                  <a:pt x="11257580" y="761219"/>
                </a:cubicBezTo>
                <a:lnTo>
                  <a:pt x="11217416" y="876825"/>
                </a:lnTo>
                <a:lnTo>
                  <a:pt x="11175624" y="763390"/>
                </a:lnTo>
                <a:cubicBezTo>
                  <a:pt x="11170738" y="748735"/>
                  <a:pt x="11166396" y="740594"/>
                  <a:pt x="11153913" y="740594"/>
                </a:cubicBezTo>
                <a:lnTo>
                  <a:pt x="11130575" y="740594"/>
                </a:lnTo>
                <a:close/>
                <a:moveTo>
                  <a:pt x="10865711" y="740051"/>
                </a:moveTo>
                <a:lnTo>
                  <a:pt x="10865711" y="910476"/>
                </a:lnTo>
                <a:cubicBezTo>
                  <a:pt x="10865711" y="929473"/>
                  <a:pt x="10880908" y="944670"/>
                  <a:pt x="10899904" y="944670"/>
                </a:cubicBezTo>
                <a:lnTo>
                  <a:pt x="10912930" y="944670"/>
                </a:lnTo>
                <a:lnTo>
                  <a:pt x="10912930" y="771531"/>
                </a:lnTo>
                <a:cubicBezTo>
                  <a:pt x="10912930" y="754163"/>
                  <a:pt x="10899361" y="740051"/>
                  <a:pt x="10881993" y="740051"/>
                </a:cubicBezTo>
                <a:close/>
                <a:moveTo>
                  <a:pt x="11599515" y="735166"/>
                </a:moveTo>
                <a:cubicBezTo>
                  <a:pt x="11581603" y="735166"/>
                  <a:pt x="11565321" y="736251"/>
                  <a:pt x="11550667" y="738965"/>
                </a:cubicBezTo>
                <a:cubicBezTo>
                  <a:pt x="11536012" y="741136"/>
                  <a:pt x="11524071" y="743850"/>
                  <a:pt x="11514845" y="746563"/>
                </a:cubicBezTo>
                <a:lnTo>
                  <a:pt x="11514845" y="918617"/>
                </a:lnTo>
                <a:lnTo>
                  <a:pt x="11514845" y="924045"/>
                </a:lnTo>
                <a:cubicBezTo>
                  <a:pt x="11514845" y="935442"/>
                  <a:pt x="11524071" y="945212"/>
                  <a:pt x="11536012" y="945212"/>
                </a:cubicBezTo>
                <a:lnTo>
                  <a:pt x="11536555" y="945212"/>
                </a:lnTo>
                <a:lnTo>
                  <a:pt x="11562607" y="945212"/>
                </a:lnTo>
                <a:lnTo>
                  <a:pt x="11562607" y="779129"/>
                </a:lnTo>
                <a:cubicBezTo>
                  <a:pt x="11565864" y="778586"/>
                  <a:pt x="11570748" y="778043"/>
                  <a:pt x="11577261" y="776958"/>
                </a:cubicBezTo>
                <a:cubicBezTo>
                  <a:pt x="11583774" y="776415"/>
                  <a:pt x="11590287" y="775872"/>
                  <a:pt x="11596258" y="775872"/>
                </a:cubicBezTo>
                <a:cubicBezTo>
                  <a:pt x="11604399" y="775872"/>
                  <a:pt x="11611455" y="776958"/>
                  <a:pt x="11616883" y="779129"/>
                </a:cubicBezTo>
                <a:cubicBezTo>
                  <a:pt x="11622310" y="781300"/>
                  <a:pt x="11627195" y="785099"/>
                  <a:pt x="11630451" y="789441"/>
                </a:cubicBezTo>
                <a:cubicBezTo>
                  <a:pt x="11633708" y="794326"/>
                  <a:pt x="11635879" y="800296"/>
                  <a:pt x="11637507" y="808437"/>
                </a:cubicBezTo>
                <a:cubicBezTo>
                  <a:pt x="11639135" y="816036"/>
                  <a:pt x="11639678" y="825263"/>
                  <a:pt x="11639678" y="836661"/>
                </a:cubicBezTo>
                <a:lnTo>
                  <a:pt x="11639678" y="918074"/>
                </a:lnTo>
                <a:lnTo>
                  <a:pt x="11639678" y="923502"/>
                </a:lnTo>
                <a:cubicBezTo>
                  <a:pt x="11639678" y="934900"/>
                  <a:pt x="11648905" y="944669"/>
                  <a:pt x="11660845" y="944669"/>
                </a:cubicBezTo>
                <a:lnTo>
                  <a:pt x="11687441" y="944669"/>
                </a:lnTo>
                <a:lnTo>
                  <a:pt x="11687441" y="829605"/>
                </a:lnTo>
                <a:cubicBezTo>
                  <a:pt x="11685812" y="815494"/>
                  <a:pt x="11684727" y="803010"/>
                  <a:pt x="11682013" y="791069"/>
                </a:cubicBezTo>
                <a:cubicBezTo>
                  <a:pt x="11679299" y="779672"/>
                  <a:pt x="11674415" y="769359"/>
                  <a:pt x="11667902" y="761218"/>
                </a:cubicBezTo>
                <a:cubicBezTo>
                  <a:pt x="11661389" y="753076"/>
                  <a:pt x="11652161" y="746563"/>
                  <a:pt x="11641306" y="742221"/>
                </a:cubicBezTo>
                <a:cubicBezTo>
                  <a:pt x="11629909" y="737879"/>
                  <a:pt x="11616340" y="735166"/>
                  <a:pt x="11599515" y="735166"/>
                </a:cubicBezTo>
                <a:close/>
                <a:moveTo>
                  <a:pt x="11026367" y="735166"/>
                </a:moveTo>
                <a:cubicBezTo>
                  <a:pt x="11008455" y="735166"/>
                  <a:pt x="10992173" y="736251"/>
                  <a:pt x="10977519" y="738965"/>
                </a:cubicBezTo>
                <a:cubicBezTo>
                  <a:pt x="10962864" y="741136"/>
                  <a:pt x="10950923" y="743850"/>
                  <a:pt x="10941697" y="746563"/>
                </a:cubicBezTo>
                <a:lnTo>
                  <a:pt x="10941697" y="918617"/>
                </a:lnTo>
                <a:lnTo>
                  <a:pt x="10941697" y="924045"/>
                </a:lnTo>
                <a:cubicBezTo>
                  <a:pt x="10941697" y="935442"/>
                  <a:pt x="10950923" y="945212"/>
                  <a:pt x="10962864" y="945212"/>
                </a:cubicBezTo>
                <a:lnTo>
                  <a:pt x="10963407" y="945212"/>
                </a:lnTo>
                <a:lnTo>
                  <a:pt x="10989459" y="945212"/>
                </a:lnTo>
                <a:lnTo>
                  <a:pt x="10989459" y="779129"/>
                </a:lnTo>
                <a:cubicBezTo>
                  <a:pt x="10992716" y="778586"/>
                  <a:pt x="10997600" y="778043"/>
                  <a:pt x="11004114" y="776958"/>
                </a:cubicBezTo>
                <a:cubicBezTo>
                  <a:pt x="11010626" y="776415"/>
                  <a:pt x="11017139" y="775872"/>
                  <a:pt x="11023110" y="775872"/>
                </a:cubicBezTo>
                <a:cubicBezTo>
                  <a:pt x="11031252" y="775872"/>
                  <a:pt x="11038307" y="776958"/>
                  <a:pt x="11043735" y="779129"/>
                </a:cubicBezTo>
                <a:cubicBezTo>
                  <a:pt x="11049162" y="781300"/>
                  <a:pt x="11054047" y="785099"/>
                  <a:pt x="11057303" y="789441"/>
                </a:cubicBezTo>
                <a:cubicBezTo>
                  <a:pt x="11060560" y="794326"/>
                  <a:pt x="11062731" y="800296"/>
                  <a:pt x="11064359" y="808437"/>
                </a:cubicBezTo>
                <a:cubicBezTo>
                  <a:pt x="11065987" y="816036"/>
                  <a:pt x="11066530" y="825263"/>
                  <a:pt x="11066530" y="836661"/>
                </a:cubicBezTo>
                <a:lnTo>
                  <a:pt x="11066530" y="918074"/>
                </a:lnTo>
                <a:lnTo>
                  <a:pt x="11066530" y="923502"/>
                </a:lnTo>
                <a:cubicBezTo>
                  <a:pt x="11066530" y="934900"/>
                  <a:pt x="11075757" y="944669"/>
                  <a:pt x="11087697" y="944669"/>
                </a:cubicBezTo>
                <a:lnTo>
                  <a:pt x="11114293" y="944669"/>
                </a:lnTo>
                <a:lnTo>
                  <a:pt x="11114293" y="829605"/>
                </a:lnTo>
                <a:cubicBezTo>
                  <a:pt x="11113207" y="815494"/>
                  <a:pt x="11111579" y="803010"/>
                  <a:pt x="11108865" y="791069"/>
                </a:cubicBezTo>
                <a:cubicBezTo>
                  <a:pt x="11106151" y="779672"/>
                  <a:pt x="11101267" y="769359"/>
                  <a:pt x="11094754" y="761218"/>
                </a:cubicBezTo>
                <a:cubicBezTo>
                  <a:pt x="11088241" y="753076"/>
                  <a:pt x="11079013" y="746563"/>
                  <a:pt x="11068158" y="742221"/>
                </a:cubicBezTo>
                <a:cubicBezTo>
                  <a:pt x="11056761" y="737879"/>
                  <a:pt x="11043192" y="735166"/>
                  <a:pt x="11026367" y="735166"/>
                </a:cubicBezTo>
                <a:close/>
                <a:moveTo>
                  <a:pt x="11405208" y="732995"/>
                </a:moveTo>
                <a:cubicBezTo>
                  <a:pt x="11393267" y="732995"/>
                  <a:pt x="11381327" y="735708"/>
                  <a:pt x="11369929" y="740050"/>
                </a:cubicBezTo>
                <a:cubicBezTo>
                  <a:pt x="11358531" y="744392"/>
                  <a:pt x="11348219" y="750905"/>
                  <a:pt x="11339535" y="760133"/>
                </a:cubicBezTo>
                <a:cubicBezTo>
                  <a:pt x="11330850" y="768817"/>
                  <a:pt x="11323794" y="780214"/>
                  <a:pt x="11318367" y="793783"/>
                </a:cubicBezTo>
                <a:cubicBezTo>
                  <a:pt x="11312939" y="807352"/>
                  <a:pt x="11310226" y="823092"/>
                  <a:pt x="11310226" y="841003"/>
                </a:cubicBezTo>
                <a:cubicBezTo>
                  <a:pt x="11310226" y="856200"/>
                  <a:pt x="11312397" y="870312"/>
                  <a:pt x="11316739" y="882252"/>
                </a:cubicBezTo>
                <a:cubicBezTo>
                  <a:pt x="11321081" y="895278"/>
                  <a:pt x="11327051" y="906676"/>
                  <a:pt x="11335735" y="915903"/>
                </a:cubicBezTo>
                <a:cubicBezTo>
                  <a:pt x="11344419" y="925673"/>
                  <a:pt x="11355274" y="932729"/>
                  <a:pt x="11368300" y="938156"/>
                </a:cubicBezTo>
                <a:cubicBezTo>
                  <a:pt x="11381327" y="943584"/>
                  <a:pt x="11397066" y="946297"/>
                  <a:pt x="11414977" y="946297"/>
                </a:cubicBezTo>
                <a:cubicBezTo>
                  <a:pt x="11422033" y="946297"/>
                  <a:pt x="11428546" y="945755"/>
                  <a:pt x="11435602" y="945212"/>
                </a:cubicBezTo>
                <a:cubicBezTo>
                  <a:pt x="11442658" y="944669"/>
                  <a:pt x="11448628" y="943584"/>
                  <a:pt x="11454598" y="942498"/>
                </a:cubicBezTo>
                <a:cubicBezTo>
                  <a:pt x="11460568" y="941413"/>
                  <a:pt x="11465996" y="940327"/>
                  <a:pt x="11470338" y="938699"/>
                </a:cubicBezTo>
                <a:cubicBezTo>
                  <a:pt x="11475223" y="937071"/>
                  <a:pt x="11478480" y="935442"/>
                  <a:pt x="11481193" y="934357"/>
                </a:cubicBezTo>
                <a:lnTo>
                  <a:pt x="11477937" y="913190"/>
                </a:lnTo>
                <a:cubicBezTo>
                  <a:pt x="11476309" y="904505"/>
                  <a:pt x="11468168" y="898535"/>
                  <a:pt x="11459483" y="900706"/>
                </a:cubicBezTo>
                <a:cubicBezTo>
                  <a:pt x="11457855" y="901249"/>
                  <a:pt x="11455141" y="901791"/>
                  <a:pt x="11452970" y="902334"/>
                </a:cubicBezTo>
                <a:cubicBezTo>
                  <a:pt x="11443200" y="904505"/>
                  <a:pt x="11432888" y="905591"/>
                  <a:pt x="11421490" y="905591"/>
                </a:cubicBezTo>
                <a:cubicBezTo>
                  <a:pt x="11401951" y="905591"/>
                  <a:pt x="11387297" y="900706"/>
                  <a:pt x="11376984" y="892022"/>
                </a:cubicBezTo>
                <a:cubicBezTo>
                  <a:pt x="11366672" y="882795"/>
                  <a:pt x="11360702" y="870312"/>
                  <a:pt x="11359617" y="854029"/>
                </a:cubicBezTo>
                <a:lnTo>
                  <a:pt x="11493677" y="854029"/>
                </a:lnTo>
                <a:cubicBezTo>
                  <a:pt x="11493677" y="851315"/>
                  <a:pt x="11494219" y="848601"/>
                  <a:pt x="11494219" y="845345"/>
                </a:cubicBezTo>
                <a:lnTo>
                  <a:pt x="11494219" y="836661"/>
                </a:lnTo>
                <a:cubicBezTo>
                  <a:pt x="11494219" y="802467"/>
                  <a:pt x="11486621" y="776415"/>
                  <a:pt x="11470881" y="759047"/>
                </a:cubicBezTo>
                <a:cubicBezTo>
                  <a:pt x="11455141" y="741679"/>
                  <a:pt x="11433431" y="732995"/>
                  <a:pt x="11405208" y="732995"/>
                </a:cubicBezTo>
                <a:close/>
                <a:moveTo>
                  <a:pt x="11753113" y="676006"/>
                </a:moveTo>
                <a:lnTo>
                  <a:pt x="11726518" y="680348"/>
                </a:lnTo>
                <a:cubicBezTo>
                  <a:pt x="11714578" y="682519"/>
                  <a:pt x="11705894" y="692831"/>
                  <a:pt x="11705894" y="704229"/>
                </a:cubicBezTo>
                <a:lnTo>
                  <a:pt x="11705894" y="860543"/>
                </a:lnTo>
                <a:cubicBezTo>
                  <a:pt x="11705894" y="874111"/>
                  <a:pt x="11706979" y="886595"/>
                  <a:pt x="11709150" y="896907"/>
                </a:cubicBezTo>
                <a:cubicBezTo>
                  <a:pt x="11711321" y="907762"/>
                  <a:pt x="11715120" y="916446"/>
                  <a:pt x="11721091" y="924045"/>
                </a:cubicBezTo>
                <a:cubicBezTo>
                  <a:pt x="11727061" y="931101"/>
                  <a:pt x="11734659" y="937071"/>
                  <a:pt x="11744429" y="940870"/>
                </a:cubicBezTo>
                <a:cubicBezTo>
                  <a:pt x="11754198" y="944669"/>
                  <a:pt x="11766139" y="946840"/>
                  <a:pt x="11780793" y="946840"/>
                </a:cubicBezTo>
                <a:cubicBezTo>
                  <a:pt x="11792734" y="946840"/>
                  <a:pt x="11803589" y="945755"/>
                  <a:pt x="11812273" y="943041"/>
                </a:cubicBezTo>
                <a:lnTo>
                  <a:pt x="11818786" y="941413"/>
                </a:lnTo>
                <a:cubicBezTo>
                  <a:pt x="11827469" y="939242"/>
                  <a:pt x="11832354" y="930558"/>
                  <a:pt x="11830726" y="921874"/>
                </a:cubicBezTo>
                <a:lnTo>
                  <a:pt x="11825841" y="898535"/>
                </a:lnTo>
                <a:cubicBezTo>
                  <a:pt x="11822042" y="900163"/>
                  <a:pt x="11816614" y="901792"/>
                  <a:pt x="11810102" y="903420"/>
                </a:cubicBezTo>
                <a:cubicBezTo>
                  <a:pt x="11803589" y="905048"/>
                  <a:pt x="11795990" y="906134"/>
                  <a:pt x="11787306" y="906134"/>
                </a:cubicBezTo>
                <a:cubicBezTo>
                  <a:pt x="11774823" y="906134"/>
                  <a:pt x="11766139" y="902877"/>
                  <a:pt x="11760711" y="895821"/>
                </a:cubicBezTo>
                <a:cubicBezTo>
                  <a:pt x="11755827" y="888766"/>
                  <a:pt x="11753113" y="876825"/>
                  <a:pt x="11753113" y="860543"/>
                </a:cubicBezTo>
                <a:lnTo>
                  <a:pt x="11753113" y="777501"/>
                </a:lnTo>
                <a:lnTo>
                  <a:pt x="11804674" y="777501"/>
                </a:lnTo>
                <a:cubicBezTo>
                  <a:pt x="11816614" y="777501"/>
                  <a:pt x="11825841" y="767731"/>
                  <a:pt x="11825841" y="756334"/>
                </a:cubicBezTo>
                <a:lnTo>
                  <a:pt x="11825841" y="739508"/>
                </a:lnTo>
                <a:lnTo>
                  <a:pt x="11753113" y="739508"/>
                </a:lnTo>
                <a:close/>
                <a:moveTo>
                  <a:pt x="10315900" y="658094"/>
                </a:moveTo>
                <a:cubicBezTo>
                  <a:pt x="10302874" y="658637"/>
                  <a:pt x="10292562" y="670035"/>
                  <a:pt x="10292562" y="684147"/>
                </a:cubicBezTo>
                <a:cubicBezTo>
                  <a:pt x="10293104" y="697716"/>
                  <a:pt x="10303417" y="708571"/>
                  <a:pt x="10315900" y="708028"/>
                </a:cubicBezTo>
                <a:cubicBezTo>
                  <a:pt x="10328926" y="707486"/>
                  <a:pt x="10339238" y="696087"/>
                  <a:pt x="10339238" y="681976"/>
                </a:cubicBezTo>
                <a:cubicBezTo>
                  <a:pt x="10339238" y="668406"/>
                  <a:pt x="10328926" y="657551"/>
                  <a:pt x="10315900" y="658094"/>
                </a:cubicBezTo>
                <a:close/>
                <a:moveTo>
                  <a:pt x="10889050" y="651039"/>
                </a:moveTo>
                <a:cubicBezTo>
                  <a:pt x="10880908" y="651039"/>
                  <a:pt x="10874395" y="653210"/>
                  <a:pt x="10868425" y="658637"/>
                </a:cubicBezTo>
                <a:cubicBezTo>
                  <a:pt x="10862454" y="664065"/>
                  <a:pt x="10859741" y="671121"/>
                  <a:pt x="10859741" y="680348"/>
                </a:cubicBezTo>
                <a:cubicBezTo>
                  <a:pt x="10859741" y="689032"/>
                  <a:pt x="10862454" y="696088"/>
                  <a:pt x="10868425" y="701515"/>
                </a:cubicBezTo>
                <a:cubicBezTo>
                  <a:pt x="10873853" y="706400"/>
                  <a:pt x="10880908" y="709114"/>
                  <a:pt x="10889050" y="709114"/>
                </a:cubicBezTo>
                <a:cubicBezTo>
                  <a:pt x="10896648" y="709114"/>
                  <a:pt x="10903161" y="706943"/>
                  <a:pt x="10909132" y="701515"/>
                </a:cubicBezTo>
                <a:cubicBezTo>
                  <a:pt x="10915102" y="696088"/>
                  <a:pt x="10917816" y="689032"/>
                  <a:pt x="10917816" y="680348"/>
                </a:cubicBezTo>
                <a:cubicBezTo>
                  <a:pt x="10917816" y="671664"/>
                  <a:pt x="10915102" y="664065"/>
                  <a:pt x="10909132" y="658637"/>
                </a:cubicBezTo>
                <a:cubicBezTo>
                  <a:pt x="10903704" y="653752"/>
                  <a:pt x="10896648" y="651039"/>
                  <a:pt x="10889050" y="651039"/>
                </a:cubicBezTo>
                <a:close/>
                <a:moveTo>
                  <a:pt x="9964195" y="647783"/>
                </a:moveTo>
                <a:cubicBezTo>
                  <a:pt x="9950084" y="648326"/>
                  <a:pt x="9938686" y="660267"/>
                  <a:pt x="9938686" y="674921"/>
                </a:cubicBezTo>
                <a:cubicBezTo>
                  <a:pt x="9938143" y="689575"/>
                  <a:pt x="9950084" y="700973"/>
                  <a:pt x="9964195" y="700431"/>
                </a:cubicBezTo>
                <a:cubicBezTo>
                  <a:pt x="9978307" y="699888"/>
                  <a:pt x="9988077" y="687947"/>
                  <a:pt x="9988077" y="673293"/>
                </a:cubicBezTo>
                <a:cubicBezTo>
                  <a:pt x="9988077" y="658638"/>
                  <a:pt x="9978307" y="647241"/>
                  <a:pt x="9964195" y="647783"/>
                </a:cubicBezTo>
                <a:close/>
                <a:moveTo>
                  <a:pt x="8724004" y="623359"/>
                </a:moveTo>
                <a:cubicBezTo>
                  <a:pt x="8645847" y="623359"/>
                  <a:pt x="8576918" y="701516"/>
                  <a:pt x="8576918" y="804096"/>
                </a:cubicBezTo>
                <a:cubicBezTo>
                  <a:pt x="8576918" y="903421"/>
                  <a:pt x="8627394" y="962039"/>
                  <a:pt x="8698495" y="962039"/>
                </a:cubicBezTo>
                <a:cubicBezTo>
                  <a:pt x="8743543" y="962039"/>
                  <a:pt x="8785878" y="936529"/>
                  <a:pt x="8815187" y="888766"/>
                </a:cubicBezTo>
                <a:cubicBezTo>
                  <a:pt x="8822785" y="930016"/>
                  <a:pt x="8851008" y="947927"/>
                  <a:pt x="8872176" y="947927"/>
                </a:cubicBezTo>
                <a:cubicBezTo>
                  <a:pt x="8906369" y="947927"/>
                  <a:pt x="8928622" y="925674"/>
                  <a:pt x="8941105" y="895822"/>
                </a:cubicBezTo>
                <a:cubicBezTo>
                  <a:pt x="8948704" y="925674"/>
                  <a:pt x="8964987" y="947927"/>
                  <a:pt x="8991582" y="947927"/>
                </a:cubicBezTo>
                <a:cubicBezTo>
                  <a:pt x="9010578" y="947927"/>
                  <a:pt x="9025233" y="938157"/>
                  <a:pt x="9036088" y="922960"/>
                </a:cubicBezTo>
                <a:cubicBezTo>
                  <a:pt x="9031746" y="1027712"/>
                  <a:pt x="9026318" y="1093928"/>
                  <a:pt x="9088192" y="1080902"/>
                </a:cubicBezTo>
                <a:cubicBezTo>
                  <a:pt x="9078423" y="1051051"/>
                  <a:pt x="9075708" y="997317"/>
                  <a:pt x="9075708" y="948469"/>
                </a:cubicBezTo>
                <a:cubicBezTo>
                  <a:pt x="9075708" y="815494"/>
                  <a:pt x="9097419" y="771531"/>
                  <a:pt x="9125099" y="771531"/>
                </a:cubicBezTo>
                <a:cubicBezTo>
                  <a:pt x="9145181" y="771531"/>
                  <a:pt x="9151694" y="797041"/>
                  <a:pt x="9151694" y="824179"/>
                </a:cubicBezTo>
                <a:cubicBezTo>
                  <a:pt x="9151694" y="838833"/>
                  <a:pt x="9150066" y="855115"/>
                  <a:pt x="9146810" y="870313"/>
                </a:cubicBezTo>
                <a:cubicBezTo>
                  <a:pt x="9113159" y="891480"/>
                  <a:pt x="9086021" y="908305"/>
                  <a:pt x="9086021" y="930016"/>
                </a:cubicBezTo>
                <a:cubicBezTo>
                  <a:pt x="9086021" y="946841"/>
                  <a:pt x="9098504" y="948469"/>
                  <a:pt x="9109359" y="948469"/>
                </a:cubicBezTo>
                <a:cubicBezTo>
                  <a:pt x="9135411" y="948469"/>
                  <a:pt x="9166349" y="922960"/>
                  <a:pt x="9183717" y="875198"/>
                </a:cubicBezTo>
                <a:cubicBezTo>
                  <a:pt x="9198914" y="865971"/>
                  <a:pt x="9214111" y="855658"/>
                  <a:pt x="9228223" y="841547"/>
                </a:cubicBezTo>
                <a:cubicBezTo>
                  <a:pt x="9227680" y="846431"/>
                  <a:pt x="9227680" y="851316"/>
                  <a:pt x="9227680" y="856201"/>
                </a:cubicBezTo>
                <a:cubicBezTo>
                  <a:pt x="9227680" y="903963"/>
                  <a:pt x="9248304" y="932730"/>
                  <a:pt x="9281955" y="932730"/>
                </a:cubicBezTo>
                <a:cubicBezTo>
                  <a:pt x="9308007" y="932730"/>
                  <a:pt x="9327546" y="914276"/>
                  <a:pt x="9341658" y="886595"/>
                </a:cubicBezTo>
                <a:cubicBezTo>
                  <a:pt x="9342744" y="902335"/>
                  <a:pt x="9343286" y="917533"/>
                  <a:pt x="9343286" y="931101"/>
                </a:cubicBezTo>
                <a:cubicBezTo>
                  <a:pt x="9290097" y="955526"/>
                  <a:pt x="9231479" y="980492"/>
                  <a:pt x="9231479" y="1049422"/>
                </a:cubicBezTo>
                <a:cubicBezTo>
                  <a:pt x="9231479" y="1085244"/>
                  <a:pt x="9257531" y="1111839"/>
                  <a:pt x="9290639" y="1111839"/>
                </a:cubicBezTo>
                <a:cubicBezTo>
                  <a:pt x="9364454" y="1111839"/>
                  <a:pt x="9381279" y="1034225"/>
                  <a:pt x="9381822" y="943585"/>
                </a:cubicBezTo>
                <a:cubicBezTo>
                  <a:pt x="9405703" y="933272"/>
                  <a:pt x="9423614" y="925131"/>
                  <a:pt x="9444239" y="914819"/>
                </a:cubicBezTo>
                <a:cubicBezTo>
                  <a:pt x="9462149" y="937072"/>
                  <a:pt x="9486031" y="947927"/>
                  <a:pt x="9507741" y="947927"/>
                </a:cubicBezTo>
                <a:cubicBezTo>
                  <a:pt x="9549533" y="947927"/>
                  <a:pt x="9580470" y="925674"/>
                  <a:pt x="9605980" y="881168"/>
                </a:cubicBezTo>
                <a:cubicBezTo>
                  <a:pt x="9610322" y="915362"/>
                  <a:pt x="9619006" y="947927"/>
                  <a:pt x="9637459" y="947927"/>
                </a:cubicBezTo>
                <a:cubicBezTo>
                  <a:pt x="9670567" y="947927"/>
                  <a:pt x="9677080" y="775331"/>
                  <a:pt x="9701504" y="775331"/>
                </a:cubicBezTo>
                <a:cubicBezTo>
                  <a:pt x="9720500" y="775331"/>
                  <a:pt x="9704761" y="962039"/>
                  <a:pt x="9754694" y="962039"/>
                </a:cubicBezTo>
                <a:cubicBezTo>
                  <a:pt x="9797029" y="962039"/>
                  <a:pt x="9805170" y="797583"/>
                  <a:pt x="9825795" y="797583"/>
                </a:cubicBezTo>
                <a:cubicBezTo>
                  <a:pt x="9840449" y="797583"/>
                  <a:pt x="9841535" y="947927"/>
                  <a:pt x="9887669" y="947927"/>
                </a:cubicBezTo>
                <a:cubicBezTo>
                  <a:pt x="9910464" y="947927"/>
                  <a:pt x="9934888" y="920789"/>
                  <a:pt x="9947372" y="863257"/>
                </a:cubicBezTo>
                <a:cubicBezTo>
                  <a:pt x="9953342" y="901250"/>
                  <a:pt x="9972338" y="947927"/>
                  <a:pt x="10009788" y="947927"/>
                </a:cubicBezTo>
                <a:cubicBezTo>
                  <a:pt x="10031499" y="947927"/>
                  <a:pt x="10050495" y="925674"/>
                  <a:pt x="10065149" y="896365"/>
                </a:cubicBezTo>
                <a:cubicBezTo>
                  <a:pt x="10068948" y="926759"/>
                  <a:pt x="10077633" y="947927"/>
                  <a:pt x="10094458" y="947927"/>
                </a:cubicBezTo>
                <a:cubicBezTo>
                  <a:pt x="10137878" y="947927"/>
                  <a:pt x="10136250" y="775873"/>
                  <a:pt x="10170444" y="775873"/>
                </a:cubicBezTo>
                <a:cubicBezTo>
                  <a:pt x="10197039" y="775873"/>
                  <a:pt x="10188897" y="947927"/>
                  <a:pt x="10252399" y="947927"/>
                </a:cubicBezTo>
                <a:cubicBezTo>
                  <a:pt x="10282794" y="947927"/>
                  <a:pt x="10296905" y="922417"/>
                  <a:pt x="10305590" y="889852"/>
                </a:cubicBezTo>
                <a:cubicBezTo>
                  <a:pt x="10317530" y="937614"/>
                  <a:pt x="10335983" y="947927"/>
                  <a:pt x="10351724" y="947927"/>
                </a:cubicBezTo>
                <a:cubicBezTo>
                  <a:pt x="10361493" y="947927"/>
                  <a:pt x="10369092" y="944670"/>
                  <a:pt x="10378861" y="932730"/>
                </a:cubicBezTo>
                <a:cubicBezTo>
                  <a:pt x="10331099" y="911020"/>
                  <a:pt x="10334898" y="833405"/>
                  <a:pt x="10334898" y="782929"/>
                </a:cubicBezTo>
                <a:cubicBezTo>
                  <a:pt x="10334898" y="756877"/>
                  <a:pt x="10333270" y="740051"/>
                  <a:pt x="10316445" y="740051"/>
                </a:cubicBezTo>
                <a:cubicBezTo>
                  <a:pt x="10308846" y="740051"/>
                  <a:pt x="10305047" y="741680"/>
                  <a:pt x="10297991" y="743851"/>
                </a:cubicBezTo>
                <a:cubicBezTo>
                  <a:pt x="10303961" y="831234"/>
                  <a:pt x="10284422" y="908305"/>
                  <a:pt x="10259998" y="908305"/>
                </a:cubicBezTo>
                <a:cubicBezTo>
                  <a:pt x="10228518" y="908305"/>
                  <a:pt x="10244258" y="721055"/>
                  <a:pt x="10177499" y="721055"/>
                </a:cubicBezTo>
                <a:cubicBezTo>
                  <a:pt x="10115626" y="721055"/>
                  <a:pt x="10106941" y="870313"/>
                  <a:pt x="10099886" y="870313"/>
                </a:cubicBezTo>
                <a:cubicBezTo>
                  <a:pt x="10095001" y="870313"/>
                  <a:pt x="10094458" y="831234"/>
                  <a:pt x="10094458" y="801383"/>
                </a:cubicBezTo>
                <a:cubicBezTo>
                  <a:pt x="10097172" y="787271"/>
                  <a:pt x="10098257" y="774245"/>
                  <a:pt x="10098257" y="764475"/>
                </a:cubicBezTo>
                <a:cubicBezTo>
                  <a:pt x="10098257" y="750364"/>
                  <a:pt x="10092830" y="726482"/>
                  <a:pt x="10060807" y="738423"/>
                </a:cubicBezTo>
                <a:cubicBezTo>
                  <a:pt x="10061893" y="845346"/>
                  <a:pt x="10040725" y="909934"/>
                  <a:pt x="10016302" y="909934"/>
                </a:cubicBezTo>
                <a:cubicBezTo>
                  <a:pt x="9981022" y="909934"/>
                  <a:pt x="9980480" y="813323"/>
                  <a:pt x="9980480" y="786186"/>
                </a:cubicBezTo>
                <a:cubicBezTo>
                  <a:pt x="9980480" y="760133"/>
                  <a:pt x="9982108" y="725397"/>
                  <a:pt x="9943572" y="737880"/>
                </a:cubicBezTo>
                <a:cubicBezTo>
                  <a:pt x="9937602" y="831234"/>
                  <a:pt x="9913178" y="901250"/>
                  <a:pt x="9897981" y="901250"/>
                </a:cubicBezTo>
                <a:cubicBezTo>
                  <a:pt x="9875186" y="901250"/>
                  <a:pt x="9879528" y="740051"/>
                  <a:pt x="9830137" y="740051"/>
                </a:cubicBezTo>
                <a:cubicBezTo>
                  <a:pt x="9785631" y="740051"/>
                  <a:pt x="9771519" y="892566"/>
                  <a:pt x="9762293" y="892566"/>
                </a:cubicBezTo>
                <a:cubicBezTo>
                  <a:pt x="9745467" y="892566"/>
                  <a:pt x="9767720" y="721055"/>
                  <a:pt x="9703132" y="721055"/>
                </a:cubicBezTo>
                <a:cubicBezTo>
                  <a:pt x="9669481" y="721055"/>
                  <a:pt x="9655913" y="778587"/>
                  <a:pt x="9642887" y="842632"/>
                </a:cubicBezTo>
                <a:cubicBezTo>
                  <a:pt x="9640173" y="855115"/>
                  <a:pt x="9637459" y="855658"/>
                  <a:pt x="9636916" y="841547"/>
                </a:cubicBezTo>
                <a:cubicBezTo>
                  <a:pt x="9636374" y="830149"/>
                  <a:pt x="9636374" y="817122"/>
                  <a:pt x="9636374" y="805725"/>
                </a:cubicBezTo>
                <a:cubicBezTo>
                  <a:pt x="9652656" y="741137"/>
                  <a:pt x="9632574" y="717255"/>
                  <a:pt x="9602723" y="734624"/>
                </a:cubicBezTo>
                <a:cubicBezTo>
                  <a:pt x="9612493" y="853487"/>
                  <a:pt x="9557674" y="911562"/>
                  <a:pt x="9515882" y="911562"/>
                </a:cubicBezTo>
                <a:cubicBezTo>
                  <a:pt x="9500685" y="911562"/>
                  <a:pt x="9488745" y="905049"/>
                  <a:pt x="9480061" y="894737"/>
                </a:cubicBezTo>
                <a:cubicBezTo>
                  <a:pt x="9530536" y="863799"/>
                  <a:pt x="9552790" y="828521"/>
                  <a:pt x="9552790" y="793784"/>
                </a:cubicBezTo>
                <a:cubicBezTo>
                  <a:pt x="9552790" y="756334"/>
                  <a:pt x="9531079" y="734624"/>
                  <a:pt x="9495800" y="734624"/>
                </a:cubicBezTo>
                <a:cubicBezTo>
                  <a:pt x="9445867" y="734624"/>
                  <a:pt x="9418187" y="786186"/>
                  <a:pt x="9418187" y="829606"/>
                </a:cubicBezTo>
                <a:cubicBezTo>
                  <a:pt x="9418187" y="852944"/>
                  <a:pt x="9422529" y="873027"/>
                  <a:pt x="9429584" y="889309"/>
                </a:cubicBezTo>
                <a:lnTo>
                  <a:pt x="9381279" y="911562"/>
                </a:lnTo>
                <a:cubicBezTo>
                  <a:pt x="9380194" y="866514"/>
                  <a:pt x="9374766" y="819293"/>
                  <a:pt x="9370967" y="775873"/>
                </a:cubicBezTo>
                <a:cubicBezTo>
                  <a:pt x="9344372" y="768817"/>
                  <a:pt x="9336774" y="781301"/>
                  <a:pt x="9334602" y="805182"/>
                </a:cubicBezTo>
                <a:cubicBezTo>
                  <a:pt x="9329717" y="858915"/>
                  <a:pt x="9310178" y="892566"/>
                  <a:pt x="9292268" y="892566"/>
                </a:cubicBezTo>
                <a:cubicBezTo>
                  <a:pt x="9279242" y="892566"/>
                  <a:pt x="9271100" y="876283"/>
                  <a:pt x="9270014" y="859457"/>
                </a:cubicBezTo>
                <a:cubicBezTo>
                  <a:pt x="9265130" y="773160"/>
                  <a:pt x="9335145" y="749278"/>
                  <a:pt x="9372052" y="761761"/>
                </a:cubicBezTo>
                <a:cubicBezTo>
                  <a:pt x="9379651" y="742765"/>
                  <a:pt x="9371510" y="729196"/>
                  <a:pt x="9338401" y="729196"/>
                </a:cubicBezTo>
                <a:cubicBezTo>
                  <a:pt x="9298238" y="729196"/>
                  <a:pt x="9268386" y="753620"/>
                  <a:pt x="9246133" y="785100"/>
                </a:cubicBezTo>
                <a:cubicBezTo>
                  <a:pt x="9231479" y="805725"/>
                  <a:pt x="9214654" y="820922"/>
                  <a:pt x="9191858" y="838833"/>
                </a:cubicBezTo>
                <a:cubicBezTo>
                  <a:pt x="9192401" y="833405"/>
                  <a:pt x="9192943" y="828521"/>
                  <a:pt x="9192943" y="823636"/>
                </a:cubicBezTo>
                <a:cubicBezTo>
                  <a:pt x="9192943" y="762847"/>
                  <a:pt x="9159836" y="735709"/>
                  <a:pt x="9128356" y="735709"/>
                </a:cubicBezTo>
                <a:cubicBezTo>
                  <a:pt x="9102304" y="735709"/>
                  <a:pt x="9086021" y="751449"/>
                  <a:pt x="9076252" y="775331"/>
                </a:cubicBezTo>
                <a:cubicBezTo>
                  <a:pt x="9074080" y="751449"/>
                  <a:pt x="9069195" y="741137"/>
                  <a:pt x="9055084" y="741137"/>
                </a:cubicBezTo>
                <a:cubicBezTo>
                  <a:pt x="9049114" y="741137"/>
                  <a:pt x="9040972" y="742765"/>
                  <a:pt x="9031746" y="747107"/>
                </a:cubicBezTo>
                <a:cubicBezTo>
                  <a:pt x="9036088" y="760676"/>
                  <a:pt x="9037173" y="790528"/>
                  <a:pt x="9037173" y="810067"/>
                </a:cubicBezTo>
                <a:cubicBezTo>
                  <a:pt x="9037173" y="883339"/>
                  <a:pt x="9016006" y="915904"/>
                  <a:pt x="8995924" y="915904"/>
                </a:cubicBezTo>
                <a:cubicBezTo>
                  <a:pt x="8972585" y="915904"/>
                  <a:pt x="8969329" y="829063"/>
                  <a:pt x="8967158" y="795412"/>
                </a:cubicBezTo>
                <a:cubicBezTo>
                  <a:pt x="8964444" y="794327"/>
                  <a:pt x="8961188" y="793241"/>
                  <a:pt x="8955760" y="793241"/>
                </a:cubicBezTo>
                <a:cubicBezTo>
                  <a:pt x="8935135" y="793241"/>
                  <a:pt x="8932421" y="821465"/>
                  <a:pt x="8926994" y="846974"/>
                </a:cubicBezTo>
                <a:cubicBezTo>
                  <a:pt x="8921024" y="875740"/>
                  <a:pt x="8904741" y="911562"/>
                  <a:pt x="8880317" y="911562"/>
                </a:cubicBezTo>
                <a:cubicBezTo>
                  <a:pt x="8865663" y="911562"/>
                  <a:pt x="8856436" y="897450"/>
                  <a:pt x="8855350" y="871941"/>
                </a:cubicBezTo>
                <a:cubicBezTo>
                  <a:pt x="8853179" y="820379"/>
                  <a:pt x="8896057" y="759048"/>
                  <a:pt x="8963359" y="778044"/>
                </a:cubicBezTo>
                <a:cubicBezTo>
                  <a:pt x="8972043" y="757419"/>
                  <a:pt x="8958474" y="741680"/>
                  <a:pt x="8930250" y="741680"/>
                </a:cubicBezTo>
                <a:cubicBezTo>
                  <a:pt x="8880860" y="741680"/>
                  <a:pt x="8840153" y="778587"/>
                  <a:pt x="8822243" y="822008"/>
                </a:cubicBezTo>
                <a:cubicBezTo>
                  <a:pt x="8804331" y="862172"/>
                  <a:pt x="8772852" y="920789"/>
                  <a:pt x="8708264" y="920789"/>
                </a:cubicBezTo>
                <a:cubicBezTo>
                  <a:pt x="8662673" y="920789"/>
                  <a:pt x="8628479" y="881168"/>
                  <a:pt x="8628479" y="798126"/>
                </a:cubicBezTo>
                <a:cubicBezTo>
                  <a:pt x="8628479" y="726482"/>
                  <a:pt x="8673528" y="658638"/>
                  <a:pt x="8721833" y="658638"/>
                </a:cubicBezTo>
                <a:cubicBezTo>
                  <a:pt x="8755484" y="658638"/>
                  <a:pt x="8763082" y="691746"/>
                  <a:pt x="8760369" y="722683"/>
                </a:cubicBezTo>
                <a:cubicBezTo>
                  <a:pt x="8777737" y="736795"/>
                  <a:pt x="8806502" y="723768"/>
                  <a:pt x="8806502" y="688490"/>
                </a:cubicBezTo>
                <a:cubicBezTo>
                  <a:pt x="8806502" y="664608"/>
                  <a:pt x="8786963" y="623359"/>
                  <a:pt x="8724004" y="623359"/>
                </a:cubicBezTo>
                <a:close/>
                <a:moveTo>
                  <a:pt x="10614417" y="616845"/>
                </a:moveTo>
                <a:cubicBezTo>
                  <a:pt x="10567740" y="672748"/>
                  <a:pt x="10406543" y="714541"/>
                  <a:pt x="10406543" y="831233"/>
                </a:cubicBezTo>
                <a:cubicBezTo>
                  <a:pt x="10406543" y="876825"/>
                  <a:pt x="10435308" y="919703"/>
                  <a:pt x="10478186" y="937071"/>
                </a:cubicBezTo>
                <a:cubicBezTo>
                  <a:pt x="10502610" y="946297"/>
                  <a:pt x="10527577" y="946840"/>
                  <a:pt x="10552001" y="938699"/>
                </a:cubicBezTo>
                <a:cubicBezTo>
                  <a:pt x="10562856" y="935171"/>
                  <a:pt x="10572897" y="930015"/>
                  <a:pt x="10582056" y="923637"/>
                </a:cubicBezTo>
                <a:lnTo>
                  <a:pt x="10605742" y="902222"/>
                </a:lnTo>
                <a:lnTo>
                  <a:pt x="10584429" y="941210"/>
                </a:lnTo>
                <a:cubicBezTo>
                  <a:pt x="10572488" y="952133"/>
                  <a:pt x="10556613" y="959868"/>
                  <a:pt x="10538973" y="962039"/>
                </a:cubicBezTo>
                <a:cubicBezTo>
                  <a:pt x="10547657" y="971265"/>
                  <a:pt x="10566653" y="976150"/>
                  <a:pt x="10589992" y="976150"/>
                </a:cubicBezTo>
                <a:cubicBezTo>
                  <a:pt x="10631783" y="976150"/>
                  <a:pt x="10682802" y="963667"/>
                  <a:pt x="10709398" y="937072"/>
                </a:cubicBezTo>
                <a:cubicBezTo>
                  <a:pt x="10674118" y="937614"/>
                  <a:pt x="10651323" y="914819"/>
                  <a:pt x="10649152" y="883339"/>
                </a:cubicBezTo>
                <a:cubicBezTo>
                  <a:pt x="10665977" y="904506"/>
                  <a:pt x="10685516" y="912648"/>
                  <a:pt x="10708312" y="912648"/>
                </a:cubicBezTo>
                <a:cubicBezTo>
                  <a:pt x="10757160" y="912648"/>
                  <a:pt x="10794610" y="873027"/>
                  <a:pt x="10795153" y="826350"/>
                </a:cubicBezTo>
                <a:lnTo>
                  <a:pt x="10795631" y="825891"/>
                </a:lnTo>
                <a:lnTo>
                  <a:pt x="10795697" y="826349"/>
                </a:lnTo>
                <a:cubicBezTo>
                  <a:pt x="10795697" y="826824"/>
                  <a:pt x="10803583" y="818497"/>
                  <a:pt x="10801382" y="820371"/>
                </a:cubicBezTo>
                <a:lnTo>
                  <a:pt x="10795631" y="825891"/>
                </a:lnTo>
                <a:lnTo>
                  <a:pt x="10795154" y="822549"/>
                </a:lnTo>
                <a:cubicBezTo>
                  <a:pt x="10794069" y="767731"/>
                  <a:pt x="10768017" y="722139"/>
                  <a:pt x="10727853" y="685232"/>
                </a:cubicBezTo>
                <a:cubicBezTo>
                  <a:pt x="10697459" y="657551"/>
                  <a:pt x="10661094" y="636384"/>
                  <a:pt x="10623644" y="620644"/>
                </a:cubicBezTo>
                <a:cubicBezTo>
                  <a:pt x="10620388" y="619558"/>
                  <a:pt x="10617674" y="617930"/>
                  <a:pt x="10614417" y="616845"/>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en-GB"/>
              <a:t>Insert picture and send to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4" name="Picture 3" descr="A blue text on a black background&#10;&#10;Description automatically generated">
            <a:extLst>
              <a:ext uri="{FF2B5EF4-FFF2-40B4-BE49-F238E27FC236}">
                <a16:creationId xmlns:a16="http://schemas.microsoft.com/office/drawing/2014/main" id="{70ED7A4C-B3F5-1582-B75B-595BAA8A44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02701" y="6463735"/>
            <a:ext cx="2499984" cy="394265"/>
          </a:xfrm>
          <a:prstGeom prst="rect">
            <a:avLst/>
          </a:prstGeom>
        </p:spPr>
      </p:pic>
    </p:spTree>
    <p:extLst>
      <p:ext uri="{BB962C8B-B14F-4D97-AF65-F5344CB8AC3E}">
        <p14:creationId xmlns:p14="http://schemas.microsoft.com/office/powerpoint/2010/main" val="913817229"/>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67639488"/>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542404351"/>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clusion">
    <p:bg>
      <p:bgPr>
        <a:solidFill>
          <a:schemeClr val="accent4"/>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ck to </a:t>
            </a:r>
            <a:r>
              <a:rPr lang="fr-FR" err="1"/>
              <a:t>edit</a:t>
            </a:r>
            <a:r>
              <a:rPr lang="fr-FR"/>
              <a:t> master </a:t>
            </a:r>
            <a:r>
              <a:rPr lang="fr-FR" err="1"/>
              <a:t>title</a:t>
            </a:r>
            <a:r>
              <a:rPr lang="fr-FR"/>
              <a:t> Style</a:t>
            </a:r>
          </a:p>
        </p:txBody>
      </p:sp>
      <p:grpSp>
        <p:nvGrpSpPr>
          <p:cNvPr id="2" name="Group 2">
            <a:extLst>
              <a:ext uri="{FF2B5EF4-FFF2-40B4-BE49-F238E27FC236}">
                <a16:creationId xmlns:a16="http://schemas.microsoft.com/office/drawing/2014/main" id="{E112FC67-26E6-91F9-0FAE-294883269917}"/>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FC0E4D70-5998-8125-42E2-E0EE77A84AC4}"/>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1" name="Freeform: Shape 5">
              <a:extLst>
                <a:ext uri="{FF2B5EF4-FFF2-40B4-BE49-F238E27FC236}">
                  <a16:creationId xmlns:a16="http://schemas.microsoft.com/office/drawing/2014/main" id="{FBD6D893-3276-B285-3B03-8726CD1FFB2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2" name="Freeform: Shape 6">
              <a:extLst>
                <a:ext uri="{FF2B5EF4-FFF2-40B4-BE49-F238E27FC236}">
                  <a16:creationId xmlns:a16="http://schemas.microsoft.com/office/drawing/2014/main" id="{6F9A7FDE-2DE1-AB6B-F371-23968DFB687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7">
              <a:extLst>
                <a:ext uri="{FF2B5EF4-FFF2-40B4-BE49-F238E27FC236}">
                  <a16:creationId xmlns:a16="http://schemas.microsoft.com/office/drawing/2014/main" id="{72366D37-668B-51CE-2CE6-C9DA736141B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8">
              <a:extLst>
                <a:ext uri="{FF2B5EF4-FFF2-40B4-BE49-F238E27FC236}">
                  <a16:creationId xmlns:a16="http://schemas.microsoft.com/office/drawing/2014/main" id="{9CF35CA0-09E8-81C3-4DA7-F503D6BAE3A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pic>
        <p:nvPicPr>
          <p:cNvPr id="4" name="Picture 16">
            <a:extLst>
              <a:ext uri="{FF2B5EF4-FFF2-40B4-BE49-F238E27FC236}">
                <a16:creationId xmlns:a16="http://schemas.microsoft.com/office/drawing/2014/main" id="{415561A2-AF17-AE8E-8E0A-9B607FD1FAB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59896" y="1107202"/>
            <a:ext cx="8281358" cy="6858000"/>
          </a:xfrm>
          <a:prstGeom prst="rect">
            <a:avLst/>
          </a:prstGeom>
        </p:spPr>
      </p:pic>
    </p:spTree>
    <p:extLst>
      <p:ext uri="{BB962C8B-B14F-4D97-AF65-F5344CB8AC3E}">
        <p14:creationId xmlns:p14="http://schemas.microsoft.com/office/powerpoint/2010/main" val="1792857929"/>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541372"/>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de-DE"/>
          </a:p>
        </p:txBody>
      </p:sp>
    </p:spTree>
    <p:extLst>
      <p:ext uri="{BB962C8B-B14F-4D97-AF65-F5344CB8AC3E}">
        <p14:creationId xmlns:p14="http://schemas.microsoft.com/office/powerpoint/2010/main" val="3701619040"/>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2301923" y="1122363"/>
            <a:ext cx="7588155" cy="2621154"/>
          </a:xfrm>
        </p:spPr>
        <p:txBody>
          <a:bodyPr anchor="b">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2301923" y="3843708"/>
            <a:ext cx="7588155" cy="1414091"/>
          </a:xfrm>
        </p:spPr>
        <p:txBody>
          <a:bodyPr>
            <a:norm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p>
            <a:fld id="{C128FA71-3A18-48C0-980F-4B68F7F63042}" type="datetime1">
              <a:rPr lang="en-US" smtClean="0"/>
              <a:t>6/25/2025</a:t>
            </a:fld>
            <a:endParaRPr lang="en-US"/>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p>
            <a:fld id="{CC057153-B650-4DEB-B370-79DDCFDCE934}" type="slidenum">
              <a:rPr lang="en-US" smtClean="0"/>
              <a:t>‹#›</a:t>
            </a:fld>
            <a:endParaRPr lang="en-US"/>
          </a:p>
        </p:txBody>
      </p:sp>
    </p:spTree>
    <p:extLst>
      <p:ext uri="{BB962C8B-B14F-4D97-AF65-F5344CB8AC3E}">
        <p14:creationId xmlns:p14="http://schemas.microsoft.com/office/powerpoint/2010/main" val="168903634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C2DD052-3E45-E789-01F8-33250024ECB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51C1210E-201E-4473-82AC-2466F5386C38}" type="datetime1">
              <a:rPr lang="en-US" smtClean="0"/>
              <a:t>6/25/2025</a:t>
            </a:fld>
            <a:endParaRPr lang="en-US"/>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a:t>
            </a:fld>
            <a:endParaRPr lang="en-US"/>
          </a:p>
        </p:txBody>
      </p:sp>
    </p:spTree>
    <p:extLst>
      <p:ext uri="{BB962C8B-B14F-4D97-AF65-F5344CB8AC3E}">
        <p14:creationId xmlns:p14="http://schemas.microsoft.com/office/powerpoint/2010/main" val="17854929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D06AF-EF87-8489-2C82-DEB90B7EFE0C}"/>
              </a:ext>
            </a:extLst>
          </p:cNvPr>
          <p:cNvSpPr>
            <a:spLocks noGrp="1"/>
          </p:cNvSpPr>
          <p:nvPr>
            <p:ph type="title"/>
          </p:nvPr>
        </p:nvSpPr>
        <p:spPr>
          <a:xfrm>
            <a:off x="603381" y="553616"/>
            <a:ext cx="8273140" cy="4008859"/>
          </a:xfrm>
        </p:spPr>
        <p:txBody>
          <a:bodyPr anchor="t">
            <a:normAutofit/>
          </a:bodyPr>
          <a:lstStyle>
            <a:lvl1pPr>
              <a:defRPr sz="5400" cap="all" baseline="0"/>
            </a:lvl1pPr>
          </a:lstStyle>
          <a:p>
            <a:r>
              <a:rPr lang="en-US"/>
              <a:t>Click to edit Master title style</a:t>
            </a:r>
          </a:p>
        </p:txBody>
      </p:sp>
      <p:sp>
        <p:nvSpPr>
          <p:cNvPr id="3" name="Text Placeholder 2">
            <a:extLst>
              <a:ext uri="{FF2B5EF4-FFF2-40B4-BE49-F238E27FC236}">
                <a16:creationId xmlns:a16="http://schemas.microsoft.com/office/drawing/2014/main" id="{308E5678-CA38-1318-9EA2-5E0A4F9A59BA}"/>
              </a:ext>
            </a:extLst>
          </p:cNvPr>
          <p:cNvSpPr>
            <a:spLocks noGrp="1"/>
          </p:cNvSpPr>
          <p:nvPr>
            <p:ph type="body" idx="1"/>
          </p:nvPr>
        </p:nvSpPr>
        <p:spPr>
          <a:xfrm>
            <a:off x="603380" y="4589463"/>
            <a:ext cx="8273140" cy="1384617"/>
          </a:xfrm>
        </p:spPr>
        <p:txBody>
          <a:bodyPr anchor="b">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4E99186-7E5A-60AF-DE69-5C7DA71611AB}"/>
              </a:ext>
            </a:extLst>
          </p:cNvPr>
          <p:cNvSpPr>
            <a:spLocks noGrp="1"/>
          </p:cNvSpPr>
          <p:nvPr>
            <p:ph type="dt" sz="half" idx="10"/>
          </p:nvPr>
        </p:nvSpPr>
        <p:spPr/>
        <p:txBody>
          <a:bodyPr/>
          <a:lstStyle/>
          <a:p>
            <a:fld id="{B01EA198-6CAB-4B8F-B93F-1F9C8C4B6CE7}" type="datetime1">
              <a:rPr lang="en-US" smtClean="0"/>
              <a:t>6/25/2025</a:t>
            </a:fld>
            <a:endParaRPr lang="en-US"/>
          </a:p>
        </p:txBody>
      </p:sp>
      <p:sp>
        <p:nvSpPr>
          <p:cNvPr id="5" name="Footer Placeholder 4">
            <a:extLst>
              <a:ext uri="{FF2B5EF4-FFF2-40B4-BE49-F238E27FC236}">
                <a16:creationId xmlns:a16="http://schemas.microsoft.com/office/drawing/2014/main" id="{82FA13D1-1FBA-E820-323B-77B41F1A66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39BE85-85F6-4636-C651-D87CC969A49E}"/>
              </a:ext>
            </a:extLst>
          </p:cNvPr>
          <p:cNvSpPr>
            <a:spLocks noGrp="1"/>
          </p:cNvSpPr>
          <p:nvPr>
            <p:ph type="sldNum" sz="quarter" idx="12"/>
          </p:nvPr>
        </p:nvSpPr>
        <p:spPr/>
        <p:txBody>
          <a:bodyPr/>
          <a:lstStyle/>
          <a:p>
            <a:fld id="{CC057153-B650-4DEB-B370-79DDCFDCE934}" type="slidenum">
              <a:rPr lang="en-US" smtClean="0"/>
              <a:t>‹#›</a:t>
            </a:fld>
            <a:endParaRPr lang="en-US"/>
          </a:p>
        </p:txBody>
      </p:sp>
    </p:spTree>
    <p:extLst>
      <p:ext uri="{BB962C8B-B14F-4D97-AF65-F5344CB8AC3E}">
        <p14:creationId xmlns:p14="http://schemas.microsoft.com/office/powerpoint/2010/main" val="42836192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612648" y="548640"/>
            <a:ext cx="10741152" cy="113225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572E861E-DFBA-B4AA-9356-CDE3D3F57C04}"/>
              </a:ext>
            </a:extLst>
          </p:cNvPr>
          <p:cNvSpPr>
            <a:spLocks noGrp="1"/>
          </p:cNvSpPr>
          <p:nvPr>
            <p:ph sz="half" idx="1"/>
          </p:nvPr>
        </p:nvSpPr>
        <p:spPr>
          <a:xfrm>
            <a:off x="612648"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1D7538-EC5A-3EE7-176F-A58920C5079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CA06041F-4525-44D5-AA4F-332294BF1F56}" type="datetime1">
              <a:rPr lang="en-US" smtClean="0"/>
              <a:t>6/25/2025</a:t>
            </a:fld>
            <a:endParaRPr lang="en-US"/>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a:p>
        </p:txBody>
      </p:sp>
    </p:spTree>
    <p:extLst>
      <p:ext uri="{BB962C8B-B14F-4D97-AF65-F5344CB8AC3E}">
        <p14:creationId xmlns:p14="http://schemas.microsoft.com/office/powerpoint/2010/main" val="305147688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EE969-634D-6E32-D227-18E9282C6F9E}"/>
              </a:ext>
            </a:extLst>
          </p:cNvPr>
          <p:cNvSpPr>
            <a:spLocks noGrp="1"/>
          </p:cNvSpPr>
          <p:nvPr>
            <p:ph type="title"/>
          </p:nvPr>
        </p:nvSpPr>
        <p:spPr>
          <a:xfrm>
            <a:off x="609600" y="547396"/>
            <a:ext cx="10745788" cy="1143292"/>
          </a:xfrm>
        </p:spPr>
        <p:txBody>
          <a:bodyPr/>
          <a:lstStyle/>
          <a:p>
            <a:r>
              <a:rPr lang="en-US"/>
              <a:t>Click to edit Master title style</a:t>
            </a:r>
          </a:p>
        </p:txBody>
      </p:sp>
      <p:sp>
        <p:nvSpPr>
          <p:cNvPr id="3" name="Text Placeholder 2">
            <a:extLst>
              <a:ext uri="{FF2B5EF4-FFF2-40B4-BE49-F238E27FC236}">
                <a16:creationId xmlns:a16="http://schemas.microsoft.com/office/drawing/2014/main" id="{61CD26D4-290A-F0ED-7D62-41EDA6FEC2B9}"/>
              </a:ext>
            </a:extLst>
          </p:cNvPr>
          <p:cNvSpPr>
            <a:spLocks noGrp="1"/>
          </p:cNvSpPr>
          <p:nvPr>
            <p:ph type="body" idx="1"/>
          </p:nvPr>
        </p:nvSpPr>
        <p:spPr>
          <a:xfrm>
            <a:off x="609600" y="1685735"/>
            <a:ext cx="5157787" cy="559834"/>
          </a:xfrm>
        </p:spPr>
        <p:txBody>
          <a:bodyPr anchor="b">
            <a:normAutofit/>
          </a:bodyPr>
          <a:lstStyle>
            <a:lvl1pPr marL="0" indent="0">
              <a:lnSpc>
                <a:spcPct val="90000"/>
              </a:lnSpc>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4DA52B0-7419-A946-4523-6D34BCAD26D1}"/>
              </a:ext>
            </a:extLst>
          </p:cNvPr>
          <p:cNvSpPr>
            <a:spLocks noGrp="1"/>
          </p:cNvSpPr>
          <p:nvPr>
            <p:ph sz="half" idx="2"/>
          </p:nvPr>
        </p:nvSpPr>
        <p:spPr>
          <a:xfrm>
            <a:off x="609600" y="2386894"/>
            <a:ext cx="5157787" cy="37650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6536620-C4F3-EEC3-DBF1-05196B1CBB55}"/>
              </a:ext>
            </a:extLst>
          </p:cNvPr>
          <p:cNvSpPr>
            <a:spLocks noGrp="1"/>
          </p:cNvSpPr>
          <p:nvPr>
            <p:ph type="body" sz="quarter" idx="3"/>
          </p:nvPr>
        </p:nvSpPr>
        <p:spPr>
          <a:xfrm>
            <a:off x="6172200" y="1685735"/>
            <a:ext cx="5183188" cy="559834"/>
          </a:xfrm>
        </p:spPr>
        <p:txBody>
          <a:bodyPr anchor="b">
            <a:normAutofit/>
          </a:bodyPr>
          <a:lstStyle>
            <a:lvl1pPr marL="0" indent="0">
              <a:lnSpc>
                <a:spcPct val="90000"/>
              </a:lnSpc>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3BAE980-E611-98B5-04E9-DE4584B0E33F}"/>
              </a:ext>
            </a:extLst>
          </p:cNvPr>
          <p:cNvSpPr>
            <a:spLocks noGrp="1"/>
          </p:cNvSpPr>
          <p:nvPr>
            <p:ph sz="quarter" idx="4"/>
          </p:nvPr>
        </p:nvSpPr>
        <p:spPr>
          <a:xfrm>
            <a:off x="6172199" y="2386894"/>
            <a:ext cx="5183189" cy="37650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E3B3581-658A-8487-F9CB-E79F2BFF27E4}"/>
              </a:ext>
            </a:extLst>
          </p:cNvPr>
          <p:cNvSpPr>
            <a:spLocks noGrp="1"/>
          </p:cNvSpPr>
          <p:nvPr>
            <p:ph type="dt" sz="half" idx="10"/>
          </p:nvPr>
        </p:nvSpPr>
        <p:spPr/>
        <p:txBody>
          <a:bodyPr/>
          <a:lstStyle/>
          <a:p>
            <a:fld id="{F9557091-BBDF-4EB9-BA6B-2BB67AC4FC0F}" type="datetime1">
              <a:rPr lang="en-US" smtClean="0"/>
              <a:t>6/25/2025</a:t>
            </a:fld>
            <a:endParaRPr lang="en-US"/>
          </a:p>
        </p:txBody>
      </p:sp>
      <p:sp>
        <p:nvSpPr>
          <p:cNvPr id="8" name="Footer Placeholder 7">
            <a:extLst>
              <a:ext uri="{FF2B5EF4-FFF2-40B4-BE49-F238E27FC236}">
                <a16:creationId xmlns:a16="http://schemas.microsoft.com/office/drawing/2014/main" id="{949D76D8-9033-26CF-BF4C-AECCC685C17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02A06B8-CC1D-542F-D8EB-7625046B91D2}"/>
              </a:ext>
            </a:extLst>
          </p:cNvPr>
          <p:cNvSpPr>
            <a:spLocks noGrp="1"/>
          </p:cNvSpPr>
          <p:nvPr>
            <p:ph type="sldNum" sz="quarter" idx="12"/>
          </p:nvPr>
        </p:nvSpPr>
        <p:spPr/>
        <p:txBody>
          <a:bodyPr/>
          <a:lstStyle/>
          <a:p>
            <a:fld id="{CC057153-B650-4DEB-B370-79DDCFDCE934}" type="slidenum">
              <a:rPr lang="en-US" smtClean="0"/>
              <a:t>‹#›</a:t>
            </a:fld>
            <a:endParaRPr lang="en-US"/>
          </a:p>
        </p:txBody>
      </p:sp>
    </p:spTree>
    <p:extLst>
      <p:ext uri="{BB962C8B-B14F-4D97-AF65-F5344CB8AC3E}">
        <p14:creationId xmlns:p14="http://schemas.microsoft.com/office/powerpoint/2010/main" val="139563153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A9F42-7FF7-F803-C075-BC4968D35E3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89E8268-7232-2944-F1BD-399F9419B563}"/>
              </a:ext>
            </a:extLst>
          </p:cNvPr>
          <p:cNvSpPr>
            <a:spLocks noGrp="1"/>
          </p:cNvSpPr>
          <p:nvPr>
            <p:ph type="dt" sz="half" idx="10"/>
          </p:nvPr>
        </p:nvSpPr>
        <p:spPr/>
        <p:txBody>
          <a:bodyPr/>
          <a:lstStyle/>
          <a:p>
            <a:fld id="{2D6B226B-77A6-410C-9796-083F278E0125}" type="datetime1">
              <a:rPr lang="en-US" smtClean="0"/>
              <a:t>6/25/2025</a:t>
            </a:fld>
            <a:endParaRPr lang="en-US"/>
          </a:p>
        </p:txBody>
      </p:sp>
      <p:sp>
        <p:nvSpPr>
          <p:cNvPr id="4" name="Footer Placeholder 3">
            <a:extLst>
              <a:ext uri="{FF2B5EF4-FFF2-40B4-BE49-F238E27FC236}">
                <a16:creationId xmlns:a16="http://schemas.microsoft.com/office/drawing/2014/main" id="{6B968DDD-323F-89A1-84E3-DDBA626D938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8FBDC76-671D-1671-DCE2-D5658BD40E29}"/>
              </a:ext>
            </a:extLst>
          </p:cNvPr>
          <p:cNvSpPr>
            <a:spLocks noGrp="1"/>
          </p:cNvSpPr>
          <p:nvPr>
            <p:ph type="sldNum" sz="quarter" idx="12"/>
          </p:nvPr>
        </p:nvSpPr>
        <p:spPr/>
        <p:txBody>
          <a:bodyPr/>
          <a:lstStyle/>
          <a:p>
            <a:fld id="{CC057153-B650-4DEB-B370-79DDCFDCE934}" type="slidenum">
              <a:rPr lang="en-US" smtClean="0"/>
              <a:t>‹#›</a:t>
            </a:fld>
            <a:endParaRPr lang="en-US"/>
          </a:p>
        </p:txBody>
      </p:sp>
    </p:spTree>
    <p:extLst>
      <p:ext uri="{BB962C8B-B14F-4D97-AF65-F5344CB8AC3E}">
        <p14:creationId xmlns:p14="http://schemas.microsoft.com/office/powerpoint/2010/main" val="292411737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BC4D82-0182-501C-9231-46767680476E}"/>
              </a:ext>
            </a:extLst>
          </p:cNvPr>
          <p:cNvSpPr>
            <a:spLocks noGrp="1"/>
          </p:cNvSpPr>
          <p:nvPr>
            <p:ph type="dt" sz="half" idx="10"/>
          </p:nvPr>
        </p:nvSpPr>
        <p:spPr/>
        <p:txBody>
          <a:bodyPr/>
          <a:lstStyle/>
          <a:p>
            <a:fld id="{A23A578B-D289-4C40-8593-3D356C49DA58}" type="datetime1">
              <a:rPr lang="en-US" smtClean="0"/>
              <a:t>6/25/2025</a:t>
            </a:fld>
            <a:endParaRPr lang="en-US"/>
          </a:p>
        </p:txBody>
      </p:sp>
      <p:sp>
        <p:nvSpPr>
          <p:cNvPr id="3" name="Footer Placeholder 2">
            <a:extLst>
              <a:ext uri="{FF2B5EF4-FFF2-40B4-BE49-F238E27FC236}">
                <a16:creationId xmlns:a16="http://schemas.microsoft.com/office/drawing/2014/main" id="{10EAA6C9-A7F3-19F1-D17C-A1D83FAF553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4EBB816-1B94-116F-92D4-6043AE9E0C6B}"/>
              </a:ext>
            </a:extLst>
          </p:cNvPr>
          <p:cNvSpPr>
            <a:spLocks noGrp="1"/>
          </p:cNvSpPr>
          <p:nvPr>
            <p:ph type="sldNum" sz="quarter" idx="12"/>
          </p:nvPr>
        </p:nvSpPr>
        <p:spPr/>
        <p:txBody>
          <a:bodyPr/>
          <a:lstStyle/>
          <a:p>
            <a:fld id="{CC057153-B650-4DEB-B370-79DDCFDCE934}" type="slidenum">
              <a:rPr lang="en-US" smtClean="0"/>
              <a:t>‹#›</a:t>
            </a:fld>
            <a:endParaRPr lang="en-US"/>
          </a:p>
        </p:txBody>
      </p:sp>
    </p:spTree>
    <p:extLst>
      <p:ext uri="{BB962C8B-B14F-4D97-AF65-F5344CB8AC3E}">
        <p14:creationId xmlns:p14="http://schemas.microsoft.com/office/powerpoint/2010/main" val="127375241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0C37F-77BE-E128-4248-D001C39E79C6}"/>
              </a:ext>
            </a:extLst>
          </p:cNvPr>
          <p:cNvSpPr>
            <a:spLocks noGrp="1"/>
          </p:cNvSpPr>
          <p:nvPr>
            <p:ph type="title"/>
          </p:nvPr>
        </p:nvSpPr>
        <p:spPr>
          <a:xfrm>
            <a:off x="597160" y="553616"/>
            <a:ext cx="3595634" cy="1757505"/>
          </a:xfrm>
        </p:spPr>
        <p:txBody>
          <a:bodyPr anchor="t">
            <a:normAutofit/>
          </a:bodyPr>
          <a:lstStyle>
            <a:lvl1pPr>
              <a:defRPr sz="2800"/>
            </a:lvl1pPr>
          </a:lstStyle>
          <a:p>
            <a:r>
              <a:rPr lang="en-US"/>
              <a:t>Click to edit Master title style</a:t>
            </a:r>
          </a:p>
        </p:txBody>
      </p:sp>
      <p:sp>
        <p:nvSpPr>
          <p:cNvPr id="3" name="Content Placeholder 2">
            <a:extLst>
              <a:ext uri="{FF2B5EF4-FFF2-40B4-BE49-F238E27FC236}">
                <a16:creationId xmlns:a16="http://schemas.microsoft.com/office/drawing/2014/main" id="{2F3B20A8-A604-C977-02C0-083BA8663484}"/>
              </a:ext>
            </a:extLst>
          </p:cNvPr>
          <p:cNvSpPr>
            <a:spLocks noGrp="1"/>
          </p:cNvSpPr>
          <p:nvPr>
            <p:ph idx="1"/>
          </p:nvPr>
        </p:nvSpPr>
        <p:spPr>
          <a:xfrm>
            <a:off x="5134708" y="553616"/>
            <a:ext cx="6279741" cy="5486400"/>
          </a:xfrm>
        </p:spPr>
        <p:txBody>
          <a:bodyPr>
            <a:normAutofit/>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C0EEBFB-2026-6A35-33ED-F008376B67A0}"/>
              </a:ext>
            </a:extLst>
          </p:cNvPr>
          <p:cNvSpPr>
            <a:spLocks noGrp="1"/>
          </p:cNvSpPr>
          <p:nvPr>
            <p:ph type="body" sz="half" idx="2"/>
          </p:nvPr>
        </p:nvSpPr>
        <p:spPr>
          <a:xfrm>
            <a:off x="597160" y="2311121"/>
            <a:ext cx="3595634" cy="3728895"/>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3F05638-7A56-469A-825A-1DFA600254C8}"/>
              </a:ext>
            </a:extLst>
          </p:cNvPr>
          <p:cNvSpPr>
            <a:spLocks noGrp="1"/>
          </p:cNvSpPr>
          <p:nvPr>
            <p:ph type="dt" sz="half" idx="10"/>
          </p:nvPr>
        </p:nvSpPr>
        <p:spPr/>
        <p:txBody>
          <a:bodyPr/>
          <a:lstStyle/>
          <a:p>
            <a:fld id="{713DFAE3-14DB-48A7-A80F-80DDB072CE3D}" type="datetime1">
              <a:rPr lang="en-US" smtClean="0"/>
              <a:t>6/25/2025</a:t>
            </a:fld>
            <a:endParaRPr lang="en-US"/>
          </a:p>
        </p:txBody>
      </p:sp>
      <p:sp>
        <p:nvSpPr>
          <p:cNvPr id="6" name="Footer Placeholder 5">
            <a:extLst>
              <a:ext uri="{FF2B5EF4-FFF2-40B4-BE49-F238E27FC236}">
                <a16:creationId xmlns:a16="http://schemas.microsoft.com/office/drawing/2014/main" id="{9C85A215-184B-2105-0279-ED02F644583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2C7CA46-892B-253A-3A28-7414E17B837B}"/>
              </a:ext>
            </a:extLst>
          </p:cNvPr>
          <p:cNvSpPr>
            <a:spLocks noGrp="1"/>
          </p:cNvSpPr>
          <p:nvPr>
            <p:ph type="sldNum" sz="quarter" idx="12"/>
          </p:nvPr>
        </p:nvSpPr>
        <p:spPr/>
        <p:txBody>
          <a:bodyPr/>
          <a:lstStyle/>
          <a:p>
            <a:fld id="{CC057153-B650-4DEB-B370-79DDCFDCE934}" type="slidenum">
              <a:rPr lang="en-US" smtClean="0"/>
              <a:t>‹#›</a:t>
            </a:fld>
            <a:endParaRPr lang="en-US"/>
          </a:p>
        </p:txBody>
      </p:sp>
    </p:spTree>
    <p:extLst>
      <p:ext uri="{BB962C8B-B14F-4D97-AF65-F5344CB8AC3E}">
        <p14:creationId xmlns:p14="http://schemas.microsoft.com/office/powerpoint/2010/main" val="33453935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285134"/>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2" name="Group 2">
            <a:extLst>
              <a:ext uri="{FF2B5EF4-FFF2-40B4-BE49-F238E27FC236}">
                <a16:creationId xmlns:a16="http://schemas.microsoft.com/office/drawing/2014/main" id="{F51496C4-1393-EC1A-FE90-568BF22C8C7B}"/>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0937F72A-96AE-F5EC-755D-D45529304F3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96B9DAFA-5CFE-3E91-78D3-742C4B9A849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CB9EFD82-551E-D525-DCB6-363C1A232636}"/>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F9FEB3BD-8FE6-4A58-DFA9-1F350C2DE2F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D59F2406-4DC9-3FBA-F0C2-60E886FCA30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759253478"/>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06A09-98CF-FAC2-3708-AECC4360C651}"/>
              </a:ext>
            </a:extLst>
          </p:cNvPr>
          <p:cNvSpPr>
            <a:spLocks noGrp="1"/>
          </p:cNvSpPr>
          <p:nvPr>
            <p:ph type="title"/>
          </p:nvPr>
        </p:nvSpPr>
        <p:spPr>
          <a:xfrm>
            <a:off x="594360" y="557784"/>
            <a:ext cx="3595634" cy="2212313"/>
          </a:xfrm>
        </p:spPr>
        <p:txBody>
          <a:bodyPr anchor="t">
            <a:normAutofit/>
          </a:bodyPr>
          <a:lstStyle>
            <a:lvl1pPr>
              <a:defRPr sz="2800"/>
            </a:lvl1pPr>
          </a:lstStyle>
          <a:p>
            <a:r>
              <a:rPr lang="en-US"/>
              <a:t>Click to edit Master title style</a:t>
            </a:r>
          </a:p>
        </p:txBody>
      </p:sp>
      <p:sp>
        <p:nvSpPr>
          <p:cNvPr id="3" name="Picture Placeholder 2">
            <a:extLst>
              <a:ext uri="{FF2B5EF4-FFF2-40B4-BE49-F238E27FC236}">
                <a16:creationId xmlns:a16="http://schemas.microsoft.com/office/drawing/2014/main" id="{9571C769-CEC8-962A-01E6-15B0E056791E}"/>
              </a:ext>
            </a:extLst>
          </p:cNvPr>
          <p:cNvSpPr>
            <a:spLocks noGrp="1"/>
          </p:cNvSpPr>
          <p:nvPr>
            <p:ph type="pic" idx="1"/>
          </p:nvPr>
        </p:nvSpPr>
        <p:spPr>
          <a:xfrm>
            <a:off x="5063319" y="657103"/>
            <a:ext cx="6483687" cy="555590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32C4A61-EF2A-C5A5-B150-4448600B3937}"/>
              </a:ext>
            </a:extLst>
          </p:cNvPr>
          <p:cNvSpPr>
            <a:spLocks noGrp="1"/>
          </p:cNvSpPr>
          <p:nvPr>
            <p:ph type="body" sz="half" idx="2"/>
          </p:nvPr>
        </p:nvSpPr>
        <p:spPr>
          <a:xfrm>
            <a:off x="609601" y="2826137"/>
            <a:ext cx="3585586" cy="3434638"/>
          </a:xfrm>
        </p:spPr>
        <p:txBody>
          <a:bodyPr anchor="b"/>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20B235E-39C7-4C78-20EF-DB48ECD9CB90}"/>
              </a:ext>
            </a:extLst>
          </p:cNvPr>
          <p:cNvSpPr>
            <a:spLocks noGrp="1"/>
          </p:cNvSpPr>
          <p:nvPr>
            <p:ph type="dt" sz="half" idx="10"/>
          </p:nvPr>
        </p:nvSpPr>
        <p:spPr/>
        <p:txBody>
          <a:bodyPr/>
          <a:lstStyle/>
          <a:p>
            <a:fld id="{92C5EAEF-6478-4102-8F5D-A5FE9FC97ACB}" type="datetime1">
              <a:rPr lang="en-US" smtClean="0"/>
              <a:t>6/25/2025</a:t>
            </a:fld>
            <a:endParaRPr lang="en-US"/>
          </a:p>
        </p:txBody>
      </p:sp>
      <p:sp>
        <p:nvSpPr>
          <p:cNvPr id="6" name="Footer Placeholder 5">
            <a:extLst>
              <a:ext uri="{FF2B5EF4-FFF2-40B4-BE49-F238E27FC236}">
                <a16:creationId xmlns:a16="http://schemas.microsoft.com/office/drawing/2014/main" id="{7FDC75DA-9A78-9AB9-7171-95A08CC51C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FE1A03-DCCB-53C7-DBFE-2AD55C90591B}"/>
              </a:ext>
            </a:extLst>
          </p:cNvPr>
          <p:cNvSpPr>
            <a:spLocks noGrp="1"/>
          </p:cNvSpPr>
          <p:nvPr>
            <p:ph type="sldNum" sz="quarter" idx="12"/>
          </p:nvPr>
        </p:nvSpPr>
        <p:spPr/>
        <p:txBody>
          <a:bodyPr/>
          <a:lstStyle/>
          <a:p>
            <a:fld id="{CC057153-B650-4DEB-B370-79DDCFDCE934}" type="slidenum">
              <a:rPr lang="en-US" smtClean="0"/>
              <a:t>‹#›</a:t>
            </a:fld>
            <a:endParaRPr lang="en-US"/>
          </a:p>
        </p:txBody>
      </p:sp>
    </p:spTree>
    <p:extLst>
      <p:ext uri="{BB962C8B-B14F-4D97-AF65-F5344CB8AC3E}">
        <p14:creationId xmlns:p14="http://schemas.microsoft.com/office/powerpoint/2010/main" val="226192178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4E956D-CB73-C986-F100-46487310D11E}"/>
              </a:ext>
            </a:extLst>
          </p:cNvPr>
          <p:cNvSpPr>
            <a:spLocks noGrp="1"/>
          </p:cNvSpPr>
          <p:nvPr>
            <p:ph type="title"/>
          </p:nvPr>
        </p:nvSpPr>
        <p:spPr>
          <a:xfrm>
            <a:off x="612648" y="548640"/>
            <a:ext cx="10515600" cy="1132258"/>
          </a:xfr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E423E6A-A07C-BF0D-EA30-9A8A854E48F1}"/>
              </a:ext>
            </a:extLst>
          </p:cNvPr>
          <p:cNvSpPr>
            <a:spLocks noGrp="1"/>
          </p:cNvSpPr>
          <p:nvPr>
            <p:ph type="body" orient="vert" idx="1"/>
          </p:nvPr>
        </p:nvSpPr>
        <p:spPr>
          <a:xfrm>
            <a:off x="612648" y="1680898"/>
            <a:ext cx="10515600" cy="44960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DC9908-8F95-8DFC-72CC-158552B56735}"/>
              </a:ext>
            </a:extLst>
          </p:cNvPr>
          <p:cNvSpPr>
            <a:spLocks noGrp="1"/>
          </p:cNvSpPr>
          <p:nvPr>
            <p:ph type="dt" sz="half" idx="10"/>
          </p:nvPr>
        </p:nvSpPr>
        <p:spPr/>
        <p:txBody>
          <a:bodyPr/>
          <a:lstStyle/>
          <a:p>
            <a:fld id="{7104EDB3-C0E8-45F8-9E1D-1B6C8D1880C0}" type="datetime1">
              <a:rPr lang="en-US" smtClean="0"/>
              <a:t>6/25/2025</a:t>
            </a:fld>
            <a:endParaRPr lang="en-US"/>
          </a:p>
        </p:txBody>
      </p:sp>
      <p:sp>
        <p:nvSpPr>
          <p:cNvPr id="5" name="Footer Placeholder 4">
            <a:extLst>
              <a:ext uri="{FF2B5EF4-FFF2-40B4-BE49-F238E27FC236}">
                <a16:creationId xmlns:a16="http://schemas.microsoft.com/office/drawing/2014/main" id="{2C26C9BE-9060-50CB-2BB7-07307FF89A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4A835B-97D3-BC22-F0B8-4986D4636271}"/>
              </a:ext>
            </a:extLst>
          </p:cNvPr>
          <p:cNvSpPr>
            <a:spLocks noGrp="1"/>
          </p:cNvSpPr>
          <p:nvPr>
            <p:ph type="sldNum" sz="quarter" idx="12"/>
          </p:nvPr>
        </p:nvSpPr>
        <p:spPr/>
        <p:txBody>
          <a:bodyPr/>
          <a:lstStyle/>
          <a:p>
            <a:fld id="{CC057153-B650-4DEB-B370-79DDCFDCE934}" type="slidenum">
              <a:rPr lang="en-US" smtClean="0"/>
              <a:t>‹#›</a:t>
            </a:fld>
            <a:endParaRPr lang="en-US"/>
          </a:p>
        </p:txBody>
      </p:sp>
    </p:spTree>
    <p:extLst>
      <p:ext uri="{BB962C8B-B14F-4D97-AF65-F5344CB8AC3E}">
        <p14:creationId xmlns:p14="http://schemas.microsoft.com/office/powerpoint/2010/main" val="17719478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85B0252-346C-F6F4-3642-19F571550D45}"/>
              </a:ext>
            </a:extLst>
          </p:cNvPr>
          <p:cNvSpPr>
            <a:spLocks noGrp="1"/>
          </p:cNvSpPr>
          <p:nvPr>
            <p:ph type="title" orient="vert"/>
          </p:nvPr>
        </p:nvSpPr>
        <p:spPr>
          <a:xfrm>
            <a:off x="9634888" y="578497"/>
            <a:ext cx="2047037" cy="5598466"/>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798DA36-7351-9D6A-518B-678AB8A507D3}"/>
              </a:ext>
            </a:extLst>
          </p:cNvPr>
          <p:cNvSpPr>
            <a:spLocks noGrp="1"/>
          </p:cNvSpPr>
          <p:nvPr>
            <p:ph type="body" orient="vert" idx="1"/>
          </p:nvPr>
        </p:nvSpPr>
        <p:spPr>
          <a:xfrm>
            <a:off x="838200" y="578497"/>
            <a:ext cx="8796688" cy="55984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46BDFF-D746-836C-04B8-CA89AD5D1466}"/>
              </a:ext>
            </a:extLst>
          </p:cNvPr>
          <p:cNvSpPr>
            <a:spLocks noGrp="1"/>
          </p:cNvSpPr>
          <p:nvPr>
            <p:ph type="dt" sz="half" idx="10"/>
          </p:nvPr>
        </p:nvSpPr>
        <p:spPr/>
        <p:txBody>
          <a:bodyPr/>
          <a:lstStyle/>
          <a:p>
            <a:fld id="{9CF0EC4B-54ED-4041-B552-9BA760FA3DBA}" type="datetime1">
              <a:rPr lang="en-US" smtClean="0"/>
              <a:t>6/25/2025</a:t>
            </a:fld>
            <a:endParaRPr lang="en-US"/>
          </a:p>
        </p:txBody>
      </p:sp>
      <p:sp>
        <p:nvSpPr>
          <p:cNvPr id="5" name="Footer Placeholder 4">
            <a:extLst>
              <a:ext uri="{FF2B5EF4-FFF2-40B4-BE49-F238E27FC236}">
                <a16:creationId xmlns:a16="http://schemas.microsoft.com/office/drawing/2014/main" id="{919AA929-A9E6-FF9C-0C59-177F892D6A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16D893-7E81-90DC-4139-7687B39C3AC8}"/>
              </a:ext>
            </a:extLst>
          </p:cNvPr>
          <p:cNvSpPr>
            <a:spLocks noGrp="1"/>
          </p:cNvSpPr>
          <p:nvPr>
            <p:ph type="sldNum" sz="quarter" idx="12"/>
          </p:nvPr>
        </p:nvSpPr>
        <p:spPr/>
        <p:txBody>
          <a:bodyPr/>
          <a:lstStyle/>
          <a:p>
            <a:fld id="{CC057153-B650-4DEB-B370-79DDCFDCE934}" type="slidenum">
              <a:rPr lang="en-US" smtClean="0"/>
              <a:t>‹#›</a:t>
            </a:fld>
            <a:endParaRPr lang="en-US"/>
          </a:p>
        </p:txBody>
      </p:sp>
    </p:spTree>
    <p:extLst>
      <p:ext uri="{BB962C8B-B14F-4D97-AF65-F5344CB8AC3E}">
        <p14:creationId xmlns:p14="http://schemas.microsoft.com/office/powerpoint/2010/main" val="374523034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4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latin typeface="Ubuntu" panose="020B0504030602030204" pitchFamily="34" charset="0"/>
              </a:defRPr>
            </a:lvl1pPr>
            <a:lvl2pPr>
              <a:defRPr>
                <a:solidFill>
                  <a:schemeClr val="bg1"/>
                </a:solidFill>
                <a:latin typeface="Ubuntu" panose="020B0504030602030204" pitchFamily="34" charset="0"/>
              </a:defRPr>
            </a:lvl2pPr>
            <a:lvl3pPr>
              <a:defRPr>
                <a:solidFill>
                  <a:schemeClr val="bg1"/>
                </a:solidFill>
                <a:latin typeface="Ubuntu" panose="020B0504030602030204" pitchFamily="34" charset="0"/>
              </a:defRPr>
            </a:lvl3pPr>
            <a:lvl4pPr>
              <a:buClr>
                <a:schemeClr val="accent5"/>
              </a:buClr>
              <a:defRPr>
                <a:solidFill>
                  <a:schemeClr val="bg1"/>
                </a:solidFill>
                <a:latin typeface="Ubuntu" panose="020B0504030602030204" pitchFamily="34" charset="0"/>
              </a:defRPr>
            </a:lvl4pPr>
            <a:lvl5pPr>
              <a:buClr>
                <a:schemeClr val="bg1"/>
              </a:buClr>
              <a:defRPr>
                <a:solidFill>
                  <a:schemeClr val="bg1"/>
                </a:solidFill>
                <a:latin typeface="Ubuntu" panose="020B0504030602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13649851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a">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285134"/>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2" name="Group 2">
            <a:extLst>
              <a:ext uri="{FF2B5EF4-FFF2-40B4-BE49-F238E27FC236}">
                <a16:creationId xmlns:a16="http://schemas.microsoft.com/office/drawing/2014/main" id="{28077F6A-5588-29E0-312C-D1B791C9064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992C4824-37D6-415A-E6EC-6E62CD172F7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A20C33BE-AD5D-4D60-D7A2-A931FD4F868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B4C80064-8B28-D1EF-FC09-F0AFF3877595}"/>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B9F29B0E-E913-EB3D-4F7C-383B5615790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E0CDEF2F-7154-A5C2-D640-669D5BB07DF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7736904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6b">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285134"/>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2" name="Group 2">
            <a:extLst>
              <a:ext uri="{FF2B5EF4-FFF2-40B4-BE49-F238E27FC236}">
                <a16:creationId xmlns:a16="http://schemas.microsoft.com/office/drawing/2014/main" id="{4DB64C0B-D342-EDD4-D426-B9A5B83A4685}"/>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70BA0B6B-013E-ED21-5C0C-A7573716118E}"/>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A8C76A2C-1551-D00B-5D24-ECE94A0DB1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F5EB07D2-E52D-E392-D3C8-37455096D778}"/>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04CC7865-5F12-6284-B1F5-C81724EA1048}"/>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F2F7B79C-F81D-D4E8-CCCC-1A80B79E58F5}"/>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05166516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6c">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8" name="Group 2">
            <a:extLst>
              <a:ext uri="{FF2B5EF4-FFF2-40B4-BE49-F238E27FC236}">
                <a16:creationId xmlns:a16="http://schemas.microsoft.com/office/drawing/2014/main" id="{C6036FEE-55DE-70FD-8023-666A176E56D8}"/>
              </a:ext>
            </a:extLst>
          </p:cNvPr>
          <p:cNvGrpSpPr>
            <a:grpSpLocks noChangeAspect="1"/>
          </p:cNvGrpSpPr>
          <p:nvPr userDrawn="1"/>
        </p:nvGrpSpPr>
        <p:grpSpPr>
          <a:xfrm>
            <a:off x="1343473" y="6021288"/>
            <a:ext cx="1872000" cy="420870"/>
            <a:chOff x="5094083" y="5360390"/>
            <a:chExt cx="3039349" cy="683316"/>
          </a:xfrm>
        </p:grpSpPr>
        <p:sp>
          <p:nvSpPr>
            <p:cNvPr id="9" name="Freeform: Shape 4">
              <a:extLst>
                <a:ext uri="{FF2B5EF4-FFF2-40B4-BE49-F238E27FC236}">
                  <a16:creationId xmlns:a16="http://schemas.microsoft.com/office/drawing/2014/main" id="{B1ED800D-0360-E693-191D-220DFE10BEC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0" name="Freeform: Shape 5">
              <a:extLst>
                <a:ext uri="{FF2B5EF4-FFF2-40B4-BE49-F238E27FC236}">
                  <a16:creationId xmlns:a16="http://schemas.microsoft.com/office/drawing/2014/main" id="{95F4CCB2-170A-19BE-C942-B19098270C42}"/>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1" name="Freeform: Shape 6">
              <a:extLst>
                <a:ext uri="{FF2B5EF4-FFF2-40B4-BE49-F238E27FC236}">
                  <a16:creationId xmlns:a16="http://schemas.microsoft.com/office/drawing/2014/main" id="{890A43B6-BBB1-B11D-0EB6-447FE3C6F0F1}"/>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2" name="Freeform: Shape 7">
              <a:extLst>
                <a:ext uri="{FF2B5EF4-FFF2-40B4-BE49-F238E27FC236}">
                  <a16:creationId xmlns:a16="http://schemas.microsoft.com/office/drawing/2014/main" id="{B0A92FC2-E6FE-6A55-A3D8-D99E8E6201E5}"/>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8">
              <a:extLst>
                <a:ext uri="{FF2B5EF4-FFF2-40B4-BE49-F238E27FC236}">
                  <a16:creationId xmlns:a16="http://schemas.microsoft.com/office/drawing/2014/main" id="{1C3193CB-D868-D37B-4D53-F1726DCD2D02}"/>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89923059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Dark and Picture">
    <p:bg>
      <p:bgPr>
        <a:solidFill>
          <a:schemeClr val="accent4"/>
        </a:solidFill>
        <a:effectLst/>
      </p:bgPr>
    </p:bg>
    <p:spTree>
      <p:nvGrpSpPr>
        <p:cNvPr id="1" name=""/>
        <p:cNvGrpSpPr/>
        <p:nvPr/>
      </p:nvGrpSpPr>
      <p:grpSpPr>
        <a:xfrm>
          <a:off x="0" y="0"/>
          <a:ext cx="0" cy="0"/>
          <a:chOff x="0" y="0"/>
          <a:chExt cx="0" cy="0"/>
        </a:xfrm>
      </p:grpSpPr>
      <p:sp>
        <p:nvSpPr>
          <p:cNvPr id="3" name="Picture Placeholder 18">
            <a:extLst>
              <a:ext uri="{FF2B5EF4-FFF2-40B4-BE49-F238E27FC236}">
                <a16:creationId xmlns:a16="http://schemas.microsoft.com/office/drawing/2014/main" id="{D3B1FE99-E8D3-C5FE-4E44-4E4EF67B45DA}"/>
              </a:ext>
            </a:extLst>
          </p:cNvPr>
          <p:cNvSpPr>
            <a:spLocks noGrp="1"/>
          </p:cNvSpPr>
          <p:nvPr>
            <p:ph type="pic" sz="quarter" idx="10" hasCustomPrompt="1"/>
          </p:nvPr>
        </p:nvSpPr>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692696"/>
            <a:ext cx="4751907" cy="720179"/>
          </a:xfrm>
        </p:spPr>
        <p:txBody>
          <a:bodyPr vert="horz" lIns="0" tIns="0" rIns="0" bIns="0" rtlCol="0" anchor="b">
            <a:noAutofit/>
          </a:bodyPr>
          <a:lstStyle>
            <a:lvl1pPr>
              <a:lnSpc>
                <a:spcPct val="80000"/>
              </a:lnSpc>
              <a:defRPr lang="en-GB" sz="3600" baseline="0">
                <a:solidFill>
                  <a:schemeClr val="bg1"/>
                </a:solidFill>
              </a:defRPr>
            </a:lvl1pPr>
          </a:lstStyle>
          <a:p>
            <a:pPr lvl="0"/>
            <a:r>
              <a:rPr lang="en-US"/>
              <a:t>Click to edit Agenda</a:t>
            </a:r>
            <a:endParaRPr lang="en-GB"/>
          </a:p>
        </p:txBody>
      </p:sp>
      <p:sp>
        <p:nvSpPr>
          <p:cNvPr id="10" name="Text Placeholder 9">
            <a:extLst>
              <a:ext uri="{FF2B5EF4-FFF2-40B4-BE49-F238E27FC236}">
                <a16:creationId xmlns:a16="http://schemas.microsoft.com/office/drawing/2014/main" id="{FC6DF15B-7249-491B-BFB7-9A33784178CD}"/>
              </a:ext>
            </a:extLst>
          </p:cNvPr>
          <p:cNvSpPr>
            <a:spLocks noGrp="1"/>
          </p:cNvSpPr>
          <p:nvPr>
            <p:ph type="body" sz="quarter" idx="12"/>
          </p:nvPr>
        </p:nvSpPr>
        <p:spPr>
          <a:xfrm>
            <a:off x="407988" y="1916832"/>
            <a:ext cx="5471988" cy="4536356"/>
          </a:xfrm>
          <a:prstGeom prst="rect">
            <a:avLst/>
          </a:prstGeom>
        </p:spPr>
        <p:txBody>
          <a:bodyPr>
            <a:noAutofit/>
          </a:bodyPr>
          <a:lstStyle>
            <a:lvl1pPr>
              <a:spcBef>
                <a:spcPts val="1200"/>
              </a:spcBef>
              <a:defRPr sz="18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806713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accent4"/>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 name="Title Placeholder 1">
            <a:extLst>
              <a:ext uri="{FF2B5EF4-FFF2-40B4-BE49-F238E27FC236}">
                <a16:creationId xmlns:a16="http://schemas.microsoft.com/office/drawing/2014/main" id="{808BAF09-C52E-54E6-E538-78C64D8AB519}"/>
              </a:ext>
            </a:extLst>
          </p:cNvPr>
          <p:cNvSpPr>
            <a:spLocks noGrp="1"/>
          </p:cNvSpPr>
          <p:nvPr>
            <p:ph type="title"/>
          </p:nvPr>
        </p:nvSpPr>
        <p:spPr>
          <a:xfrm>
            <a:off x="1079321" y="260350"/>
            <a:ext cx="8640763" cy="792163"/>
          </a:xfrm>
        </p:spPr>
        <p:txBody>
          <a:bodyPr/>
          <a:lstStyle>
            <a:lvl1pPr>
              <a:defRPr>
                <a:solidFill>
                  <a:schemeClr val="accent2"/>
                </a:solidFill>
              </a:defRPr>
            </a:lvl1pPr>
          </a:lstStyle>
          <a:p>
            <a:r>
              <a:rPr lang="fr-FR"/>
              <a:t>Modifiez le style du titre</a:t>
            </a:r>
            <a:endParaRPr lang="en-US"/>
          </a:p>
        </p:txBody>
      </p:sp>
      <p:pic>
        <p:nvPicPr>
          <p:cNvPr id="4" name="Picture 16">
            <a:extLst>
              <a:ext uri="{FF2B5EF4-FFF2-40B4-BE49-F238E27FC236}">
                <a16:creationId xmlns:a16="http://schemas.microsoft.com/office/drawing/2014/main" id="{21B52807-7673-5576-DEE4-0A88870C0C1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95800" y="1700808"/>
            <a:ext cx="8281358" cy="6858000"/>
          </a:xfrm>
          <a:prstGeom prst="rect">
            <a:avLst/>
          </a:prstGeom>
        </p:spPr>
      </p:pic>
    </p:spTree>
    <p:extLst>
      <p:ext uri="{BB962C8B-B14F-4D97-AF65-F5344CB8AC3E}">
        <p14:creationId xmlns:p14="http://schemas.microsoft.com/office/powerpoint/2010/main" val="36050785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49D2F3-3C15-428F-AF70-D31974E2F3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52613" y="3199768"/>
            <a:ext cx="9079459" cy="3532255"/>
          </a:xfrm>
          <a:prstGeom prst="rect">
            <a:avLst/>
          </a:prstGeom>
        </p:spPr>
      </p:pic>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 name="Title Placeholder 1">
            <a:extLst>
              <a:ext uri="{FF2B5EF4-FFF2-40B4-BE49-F238E27FC236}">
                <a16:creationId xmlns:a16="http://schemas.microsoft.com/office/drawing/2014/main" id="{114BB18C-C624-35CB-514D-CE1A312E0BD8}"/>
              </a:ext>
            </a:extLst>
          </p:cNvPr>
          <p:cNvSpPr>
            <a:spLocks noGrp="1"/>
          </p:cNvSpPr>
          <p:nvPr>
            <p:ph type="title"/>
          </p:nvPr>
        </p:nvSpPr>
        <p:spPr>
          <a:xfrm>
            <a:off x="1079321" y="260350"/>
            <a:ext cx="8640763" cy="792163"/>
          </a:xfrm>
        </p:spPr>
        <p:txBody>
          <a:bodyPr/>
          <a:lstStyle>
            <a:lvl1pPr>
              <a:defRPr>
                <a:solidFill>
                  <a:schemeClr val="accent2"/>
                </a:solidFill>
              </a:defRPr>
            </a:lvl1pPr>
          </a:lstStyle>
          <a:p>
            <a:r>
              <a:rPr lang="fr-FR"/>
              <a:t>Modifiez le style du titre</a:t>
            </a:r>
            <a:endParaRPr lang="en-US"/>
          </a:p>
        </p:txBody>
      </p:sp>
    </p:spTree>
    <p:extLst>
      <p:ext uri="{BB962C8B-B14F-4D97-AF65-F5344CB8AC3E}">
        <p14:creationId xmlns:p14="http://schemas.microsoft.com/office/powerpoint/2010/main" val="16959471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Divider Page">
    <p:bg>
      <p:bgPr>
        <a:solidFill>
          <a:schemeClr val="accent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F09D0F-E907-3A0B-CF17-D622F6756C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chemeClr val="bg1"/>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Tree>
    <p:extLst>
      <p:ext uri="{BB962C8B-B14F-4D97-AF65-F5344CB8AC3E}">
        <p14:creationId xmlns:p14="http://schemas.microsoft.com/office/powerpoint/2010/main" val="1444894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70ACFCFC-1DDE-342C-6F6C-421985D8A34A}"/>
              </a:ext>
            </a:extLst>
          </p:cNvPr>
          <p:cNvSpPr>
            <a:spLocks noGrp="1"/>
          </p:cNvSpPr>
          <p:nvPr>
            <p:ph type="subTitle" idx="1"/>
          </p:nvPr>
        </p:nvSpPr>
        <p:spPr>
          <a:xfrm>
            <a:off x="407988" y="5460790"/>
            <a:ext cx="11090275"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15" name="Title">
            <a:extLst>
              <a:ext uri="{FF2B5EF4-FFF2-40B4-BE49-F238E27FC236}">
                <a16:creationId xmlns:a16="http://schemas.microsoft.com/office/drawing/2014/main" id="{BA5DDAC5-BAB8-79F8-0B48-89767D2C03B3}"/>
              </a:ext>
            </a:extLst>
          </p:cNvPr>
          <p:cNvSpPr>
            <a:spLocks noGrp="1"/>
          </p:cNvSpPr>
          <p:nvPr>
            <p:ph type="ctrTitle"/>
          </p:nvPr>
        </p:nvSpPr>
        <p:spPr>
          <a:xfrm>
            <a:off x="40798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3" name="Group 2">
            <a:extLst>
              <a:ext uri="{FF2B5EF4-FFF2-40B4-BE49-F238E27FC236}">
                <a16:creationId xmlns:a16="http://schemas.microsoft.com/office/drawing/2014/main" id="{337935B1-1E9A-902D-1107-E84E1CDCC3AB}"/>
              </a:ext>
            </a:extLst>
          </p:cNvPr>
          <p:cNvGrpSpPr>
            <a:grpSpLocks noChangeAspect="1"/>
          </p:cNvGrpSpPr>
          <p:nvPr userDrawn="1"/>
        </p:nvGrpSpPr>
        <p:grpSpPr>
          <a:xfrm>
            <a:off x="443568" y="6021288"/>
            <a:ext cx="1872000" cy="420870"/>
            <a:chOff x="5094083" y="5360390"/>
            <a:chExt cx="3039349" cy="683316"/>
          </a:xfrm>
        </p:grpSpPr>
        <p:sp>
          <p:nvSpPr>
            <p:cNvPr id="5" name="Freeform: Shape 4">
              <a:extLst>
                <a:ext uri="{FF2B5EF4-FFF2-40B4-BE49-F238E27FC236}">
                  <a16:creationId xmlns:a16="http://schemas.microsoft.com/office/drawing/2014/main" id="{9BAB5440-AAF9-D636-D963-1CF51D4EEE3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89CD0850-5040-0CC6-F657-BF2242F63884}"/>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408F4CC8-6692-0A4C-C931-B50A99D5E8D4}"/>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9645E874-9471-204B-FEA4-29B6C383031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8CD723AF-3402-E7B5-291B-2ABCD137B39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30277786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Divider Page">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3E65870-6F3C-04B2-E814-901DB0CFC0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ysClr val="windowText" lastClr="000000"/>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Tree>
    <p:extLst>
      <p:ext uri="{BB962C8B-B14F-4D97-AF65-F5344CB8AC3E}">
        <p14:creationId xmlns:p14="http://schemas.microsoft.com/office/powerpoint/2010/main" val="35109389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30636851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wrap="square">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2" name="Title 1">
            <a:extLst>
              <a:ext uri="{FF2B5EF4-FFF2-40B4-BE49-F238E27FC236}">
                <a16:creationId xmlns:a16="http://schemas.microsoft.com/office/drawing/2014/main" id="{DA3D6CCA-5023-D91C-5084-3ED466DC8001}"/>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3904396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fr-FR"/>
              <a:t>Modifiez le style du titre</a:t>
            </a:r>
            <a:endParaRPr lang="de-DE"/>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Tree>
    <p:extLst>
      <p:ext uri="{BB962C8B-B14F-4D97-AF65-F5344CB8AC3E}">
        <p14:creationId xmlns:p14="http://schemas.microsoft.com/office/powerpoint/2010/main" val="32399642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Empty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08419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Gre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30666727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2" name="Title 1">
            <a:extLst>
              <a:ext uri="{FF2B5EF4-FFF2-40B4-BE49-F238E27FC236}">
                <a16:creationId xmlns:a16="http://schemas.microsoft.com/office/drawing/2014/main" id="{96963528-AA21-5972-C236-27F2D7209CFD}"/>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7431069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Content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1689079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Empty Grey">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04156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Short White">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8040215" y="1122907"/>
            <a:ext cx="4151785"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409221"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414971" y="1628800"/>
            <a:ext cx="7409221" cy="4824388"/>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2050C691-8B76-E01C-4EF1-3EB567E0EB3B}"/>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568473638"/>
      </p:ext>
    </p:extLst>
  </p:cSld>
  <p:clrMapOvr>
    <a:masterClrMapping/>
  </p:clrMapOvr>
  <p:extLst>
    <p:ext uri="{DCECCB84-F9BA-43D5-87BE-67443E8EF086}">
      <p15:sldGuideLst xmlns:p15="http://schemas.microsoft.com/office/powerpoint/2012/main">
        <p15:guide id="1" pos="506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4">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62384429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Only Short White">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97BD40BB-A2F0-F646-3CC2-596CC4195838}"/>
              </a:ext>
            </a:extLst>
          </p:cNvPr>
          <p:cNvSpPr>
            <a:spLocks noGrp="1"/>
          </p:cNvSpPr>
          <p:nvPr>
            <p:ph type="pic" sz="quarter" idx="18" hasCustomPrompt="1"/>
          </p:nvPr>
        </p:nvSpPr>
        <p:spPr>
          <a:xfrm>
            <a:off x="6096000" y="1122907"/>
            <a:ext cx="6096001"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414971" y="1628775"/>
            <a:ext cx="5545137" cy="4824413"/>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80C572A4-9113-ABE4-A840-37A9AAC56C99}"/>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8388101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Title Only Short Whit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B58C20F-AA44-45A0-8BD7-3F72A12E08AD}"/>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5538"/>
            <a:ext cx="69840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4"/>
            <a:ext cx="6962544" cy="4824413"/>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0" y="0"/>
            <a:ext cx="4223792"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itle 1">
            <a:extLst>
              <a:ext uri="{FF2B5EF4-FFF2-40B4-BE49-F238E27FC236}">
                <a16:creationId xmlns:a16="http://schemas.microsoft.com/office/drawing/2014/main" id="{A0A52824-0DEF-7B5E-1D4F-BCBC062D66ED}"/>
              </a:ext>
            </a:extLst>
          </p:cNvPr>
          <p:cNvSpPr>
            <a:spLocks noGrp="1"/>
          </p:cNvSpPr>
          <p:nvPr>
            <p:ph type="title"/>
          </p:nvPr>
        </p:nvSpPr>
        <p:spPr>
          <a:xfrm>
            <a:off x="4439384" y="260350"/>
            <a:ext cx="6984000" cy="792163"/>
          </a:xfrm>
        </p:spPr>
        <p:txBody>
          <a:bodyPr/>
          <a:lstStyle/>
          <a:p>
            <a:r>
              <a:rPr lang="fr-FR"/>
              <a:t>Modifiez le style du titre</a:t>
            </a:r>
            <a:endParaRPr lang="en-US"/>
          </a:p>
        </p:txBody>
      </p:sp>
    </p:spTree>
    <p:extLst>
      <p:ext uri="{BB962C8B-B14F-4D97-AF65-F5344CB8AC3E}">
        <p14:creationId xmlns:p14="http://schemas.microsoft.com/office/powerpoint/2010/main" val="2963619839"/>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itle Only Short White">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8930BD6-6C9D-490A-BF02-403245ED990A}"/>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384032" y="1125538"/>
            <a:ext cx="5063967"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384032" y="1627200"/>
            <a:ext cx="5063967" cy="4825988"/>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itle 1">
            <a:extLst>
              <a:ext uri="{FF2B5EF4-FFF2-40B4-BE49-F238E27FC236}">
                <a16:creationId xmlns:a16="http://schemas.microsoft.com/office/drawing/2014/main" id="{4A7337B1-E3AC-A7E5-7836-78F324F9FFAF}"/>
              </a:ext>
            </a:extLst>
          </p:cNvPr>
          <p:cNvSpPr>
            <a:spLocks noGrp="1"/>
          </p:cNvSpPr>
          <p:nvPr>
            <p:ph type="title"/>
          </p:nvPr>
        </p:nvSpPr>
        <p:spPr>
          <a:xfrm>
            <a:off x="6359417" y="260350"/>
            <a:ext cx="5063967" cy="792163"/>
          </a:xfrm>
        </p:spPr>
        <p:txBody>
          <a:bodyPr/>
          <a:lstStyle/>
          <a:p>
            <a:r>
              <a:rPr lang="fr-FR"/>
              <a:t>Modifiez le style du titre</a:t>
            </a:r>
            <a:endParaRPr lang="en-US"/>
          </a:p>
        </p:txBody>
      </p:sp>
    </p:spTree>
    <p:extLst>
      <p:ext uri="{BB962C8B-B14F-4D97-AF65-F5344CB8AC3E}">
        <p14:creationId xmlns:p14="http://schemas.microsoft.com/office/powerpoint/2010/main" val="28739037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6428109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Only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
        <p:nvSpPr>
          <p:cNvPr id="3" name="Rectangle 2">
            <a:extLst>
              <a:ext uri="{FF2B5EF4-FFF2-40B4-BE49-F238E27FC236}">
                <a16:creationId xmlns:a16="http://schemas.microsoft.com/office/drawing/2014/main" id="{FA059EDE-AA65-E99E-B031-7606C3DE7CAF}"/>
              </a:ext>
            </a:extLst>
          </p:cNvPr>
          <p:cNvSpPr/>
          <p:nvPr userDrawn="1"/>
        </p:nvSpPr>
        <p:spPr>
          <a:xfrm>
            <a:off x="0" y="1052513"/>
            <a:ext cx="12192000" cy="5400675"/>
          </a:xfrm>
          <a:prstGeom prst="rect">
            <a:avLst/>
          </a:prstGeom>
          <a:solidFill>
            <a:schemeClr val="accent4">
              <a:lumMod val="90000"/>
              <a:lumOff val="1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spTree>
    <p:extLst>
      <p:ext uri="{BB962C8B-B14F-4D97-AF65-F5344CB8AC3E}">
        <p14:creationId xmlns:p14="http://schemas.microsoft.com/office/powerpoint/2010/main" val="31151085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Only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
        <p:nvSpPr>
          <p:cNvPr id="3" name="Rectangle 2">
            <a:extLst>
              <a:ext uri="{FF2B5EF4-FFF2-40B4-BE49-F238E27FC236}">
                <a16:creationId xmlns:a16="http://schemas.microsoft.com/office/drawing/2014/main" id="{17BD50A2-D8B7-11F4-A07E-BC41AE8A9135}"/>
              </a:ext>
            </a:extLst>
          </p:cNvPr>
          <p:cNvSpPr/>
          <p:nvPr userDrawn="1"/>
        </p:nvSpPr>
        <p:spPr>
          <a:xfrm>
            <a:off x="0" y="1052513"/>
            <a:ext cx="12192000" cy="5400675"/>
          </a:xfrm>
          <a:prstGeom prst="rect">
            <a:avLst/>
          </a:prstGeom>
          <a:gradFill>
            <a:gsLst>
              <a:gs pos="0">
                <a:schemeClr val="accent4"/>
              </a:gs>
              <a:gs pos="100000">
                <a:schemeClr val="accent1"/>
              </a:gs>
            </a:gsLst>
            <a:lin ang="1890000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spTree>
    <p:extLst>
      <p:ext uri="{BB962C8B-B14F-4D97-AF65-F5344CB8AC3E}">
        <p14:creationId xmlns:p14="http://schemas.microsoft.com/office/powerpoint/2010/main" val="28722334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Dark Grey">
    <p:bg>
      <p:bgPr>
        <a:solidFill>
          <a:schemeClr val="accent4"/>
        </a:soli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3D771E05-0646-A062-8DD0-B00651AE6E76}"/>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5369830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ubtitle Content Grey">
    <p:bg>
      <p:bgPr>
        <a:solidFill>
          <a:schemeClr val="accent4"/>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bg1"/>
                </a:solidFill>
                <a:latin typeface="Ubuntu Light" panose="020B0304030602030204" pitchFamily="34" charset="0"/>
              </a:defRPr>
            </a:lvl1pPr>
          </a:lstStyle>
          <a:p>
            <a:pPr lvl="0"/>
            <a:r>
              <a:rPr lang="fr-FR"/>
              <a:t>Cliquez pour modifier les styles du texte du masque</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lvl1pPr>
              <a:defRPr>
                <a:solidFill>
                  <a:schemeClr val="bg1"/>
                </a:solidFill>
              </a:defRPr>
            </a:lvl1pPr>
            <a:lvl2pPr>
              <a:buClrTx/>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323330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Only Short Dark">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7D3C6BC6-663C-C133-76CE-9BAB02DAEDB3}"/>
              </a:ext>
            </a:extLst>
          </p:cNvPr>
          <p:cNvSpPr>
            <a:spLocks noGrp="1"/>
          </p:cNvSpPr>
          <p:nvPr>
            <p:ph type="pic" sz="quarter" idx="18" hasCustomPrompt="1"/>
          </p:nvPr>
        </p:nvSpPr>
        <p:spPr>
          <a:xfrm>
            <a:off x="7967663" y="1122907"/>
            <a:ext cx="4224338"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bg1"/>
                </a:solidFill>
              </a:defRPr>
            </a:lvl1pPr>
          </a:lstStyle>
          <a:p>
            <a:r>
              <a:rPr lang="de-DE"/>
              <a:t>Insert Picture and send </a:t>
            </a:r>
            <a:r>
              <a:rPr lang="de-DE" err="1"/>
              <a:t>to</a:t>
            </a:r>
            <a:r>
              <a:rPr lang="de-DE"/>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337213"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414971" y="1628800"/>
            <a:ext cx="7337213" cy="4824388"/>
          </a:xfrm>
          <a:prstGeom prst="rect">
            <a:avLst/>
          </a:prstGeom>
        </p:spPr>
        <p:txBody>
          <a:bodyPr rIns="216000">
            <a:noAutofit/>
          </a:bodyPr>
          <a:lstStyle>
            <a:lvl1pPr>
              <a:defRPr sz="1400">
                <a:solidFill>
                  <a:schemeClr val="bg1"/>
                </a:solidFill>
              </a:defRPr>
            </a:lvl1pPr>
            <a:lvl2pPr>
              <a:buClrTx/>
              <a:defRPr sz="1400">
                <a:solidFill>
                  <a:schemeClr val="bg1"/>
                </a:solidFill>
              </a:defRPr>
            </a:lvl2pPr>
            <a:lvl3pPr>
              <a:buClrTx/>
              <a:defRPr sz="1400">
                <a:solidFill>
                  <a:schemeClr val="bg1"/>
                </a:solidFill>
              </a:defRPr>
            </a:lvl3pPr>
            <a:lvl4pPr>
              <a:buClrTx/>
              <a:defRPr sz="1200">
                <a:solidFill>
                  <a:schemeClr val="bg1"/>
                </a:solidFill>
              </a:defRPr>
            </a:lvl4pPr>
            <a:lvl5pPr>
              <a:buClrTx/>
              <a:defRPr sz="120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FC5D9B30-9A2C-505E-36D0-05AF0DBAAC3C}"/>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011212598"/>
      </p:ext>
    </p:extLst>
  </p:cSld>
  <p:clrMapOvr>
    <a:masterClrMapping/>
  </p:clrMapOvr>
  <p:extLst>
    <p:ext uri="{DCECCB84-F9BA-43D5-87BE-67443E8EF086}">
      <p15:sldGuideLst xmlns:p15="http://schemas.microsoft.com/office/powerpoint/2012/main">
        <p15:guide id="1" pos="501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Only Short Dark">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D947A8D9-3FE6-9441-652F-400363E70669}"/>
              </a:ext>
            </a:extLst>
          </p:cNvPr>
          <p:cNvSpPr>
            <a:spLocks noGrp="1"/>
          </p:cNvSpPr>
          <p:nvPr>
            <p:ph type="pic" sz="quarter" idx="18" hasCustomPrompt="1"/>
          </p:nvPr>
        </p:nvSpPr>
        <p:spPr>
          <a:xfrm>
            <a:off x="6096001" y="1122907"/>
            <a:ext cx="6096000"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414971" y="1627200"/>
            <a:ext cx="5545137" cy="4825988"/>
          </a:xfrm>
          <a:prstGeom prst="rect">
            <a:avLst/>
          </a:prstGeom>
        </p:spPr>
        <p:txBody>
          <a:bodyPr vert="horz" lIns="0" tIns="0" rIns="21600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D325044F-30C6-C6D9-84C0-2B925714F572}"/>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7040532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173216663"/>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 Only Short Dark">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40C8F40-0AE5-4281-9868-B3C794BF6FD6}"/>
              </a:ext>
            </a:extLst>
          </p:cNvPr>
          <p:cNvSpPr>
            <a:spLocks noGrp="1"/>
          </p:cNvSpPr>
          <p:nvPr>
            <p:ph type="pic" sz="quarter" idx="19" hasCustomPrompt="1"/>
          </p:nvPr>
        </p:nvSpPr>
        <p:spPr>
          <a:xfrm>
            <a:off x="-1" y="0"/>
            <a:ext cx="4208053"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14" name="Groupe 1">
            <a:extLst>
              <a:ext uri="{FF2B5EF4-FFF2-40B4-BE49-F238E27FC236}">
                <a16:creationId xmlns:a16="http://schemas.microsoft.com/office/drawing/2014/main" id="{DFFA4EA6-56A9-4F86-ABC0-8D91183AD408}"/>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C156B522-A0C0-42B8-BB11-65082FE767FF}"/>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4">
              <a:extLst>
                <a:ext uri="{FF2B5EF4-FFF2-40B4-BE49-F238E27FC236}">
                  <a16:creationId xmlns:a16="http://schemas.microsoft.com/office/drawing/2014/main" id="{43AD94EE-7857-4B4F-8194-A523D32A3519}"/>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Title 1">
            <a:extLst>
              <a:ext uri="{FF2B5EF4-FFF2-40B4-BE49-F238E27FC236}">
                <a16:creationId xmlns:a16="http://schemas.microsoft.com/office/drawing/2014/main" id="{63D8BFFB-83BD-8B73-4F5E-285DBB5281A2}"/>
              </a:ext>
            </a:extLst>
          </p:cNvPr>
          <p:cNvSpPr>
            <a:spLocks noGrp="1"/>
          </p:cNvSpPr>
          <p:nvPr>
            <p:ph type="title"/>
          </p:nvPr>
        </p:nvSpPr>
        <p:spPr>
          <a:xfrm>
            <a:off x="4444744" y="260350"/>
            <a:ext cx="6978640" cy="792163"/>
          </a:xfrm>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31338505"/>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4_Title Only Short Dark">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8A4E47E-A55F-4490-AD19-D9A415AA57C5}"/>
              </a:ext>
            </a:extLst>
          </p:cNvPr>
          <p:cNvSpPr>
            <a:spLocks noGrp="1"/>
          </p:cNvSpPr>
          <p:nvPr>
            <p:ph type="pic" sz="quarter" idx="19"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384032" y="1125538"/>
            <a:ext cx="5047879"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384032" y="6907"/>
            <a:ext cx="5047879" cy="1127300"/>
          </a:xfrm>
        </p:spPr>
        <p:txBody>
          <a:bodyPr/>
          <a:lstStyle>
            <a:lvl1pPr>
              <a:defRPr>
                <a:solidFill>
                  <a:schemeClr val="bg1"/>
                </a:solidFill>
              </a:defRPr>
            </a:lvl1pPr>
          </a:lstStyle>
          <a:p>
            <a:r>
              <a:rPr lang="fr-FR"/>
              <a:t>Modifiez le style du titre</a:t>
            </a:r>
            <a:endParaRPr lang="de-DE"/>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384032" y="1627200"/>
            <a:ext cx="5047879"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16" name="Groupe 1">
            <a:extLst>
              <a:ext uri="{FF2B5EF4-FFF2-40B4-BE49-F238E27FC236}">
                <a16:creationId xmlns:a16="http://schemas.microsoft.com/office/drawing/2014/main" id="{E0AE299F-7351-4397-AACC-823584420C74}"/>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2EAF937C-9725-44A1-BB6F-11B4974BADA6}"/>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4">
              <a:extLst>
                <a:ext uri="{FF2B5EF4-FFF2-40B4-BE49-F238E27FC236}">
                  <a16:creationId xmlns:a16="http://schemas.microsoft.com/office/drawing/2014/main" id="{0B23023F-6948-45C1-A879-0B093E949B0A}"/>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392124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Dark Blue">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grpSp>
        <p:nvGrpSpPr>
          <p:cNvPr id="2" name="Group 37">
            <a:extLst>
              <a:ext uri="{FF2B5EF4-FFF2-40B4-BE49-F238E27FC236}">
                <a16:creationId xmlns:a16="http://schemas.microsoft.com/office/drawing/2014/main" id="{249954CA-1B4C-479D-8956-C152CD1D4255}"/>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86845868-3C42-0B91-A56D-1739F1EE523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321">
              <a:extLst>
                <a:ext uri="{FF2B5EF4-FFF2-40B4-BE49-F238E27FC236}">
                  <a16:creationId xmlns:a16="http://schemas.microsoft.com/office/drawing/2014/main" id="{F5D1D048-6CFA-0DCF-5953-84431BE6754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Title 2">
            <a:extLst>
              <a:ext uri="{FF2B5EF4-FFF2-40B4-BE49-F238E27FC236}">
                <a16:creationId xmlns:a16="http://schemas.microsoft.com/office/drawing/2014/main" id="{EE7D5AB5-F4DB-ECDA-A390-D44890647604}"/>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39487937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Blue">
    <p:bg>
      <p:bgPr>
        <a:solidFill>
          <a:schemeClr val="accent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321">
              <a:extLst>
                <a:ext uri="{FF2B5EF4-FFF2-40B4-BE49-F238E27FC236}">
                  <a16:creationId xmlns:a16="http://schemas.microsoft.com/office/drawing/2014/main" id="{DF832F2C-D3A7-4DE5-96EA-08ADD488B23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8BF4754F-A565-D595-AC8C-9F0E9407F8F2}"/>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8231405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Final Slide dark">
    <p:bg>
      <p:bgPr>
        <a:solidFill>
          <a:srgbClr val="272936"/>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pic>
        <p:nvPicPr>
          <p:cNvPr id="10" name="Picture 7">
            <a:hlinkClick r:id="rId3"/>
            <a:extLst>
              <a:ext uri="{FF2B5EF4-FFF2-40B4-BE49-F238E27FC236}">
                <a16:creationId xmlns:a16="http://schemas.microsoft.com/office/drawing/2014/main" id="{CC55E37E-23F7-AE09-687B-FF0A64465B2C}"/>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11" name="Picture 2">
            <a:hlinkClick r:id="rId5"/>
            <a:extLst>
              <a:ext uri="{FF2B5EF4-FFF2-40B4-BE49-F238E27FC236}">
                <a16:creationId xmlns:a16="http://schemas.microsoft.com/office/drawing/2014/main" id="{A9A234E1-21A9-0562-AA45-77469E965E95}"/>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897602" y="5571089"/>
            <a:ext cx="333195" cy="333195"/>
          </a:xfrm>
          <a:prstGeom prst="rect">
            <a:avLst/>
          </a:prstGeom>
          <a:noFill/>
        </p:spPr>
      </p:pic>
      <p:pic>
        <p:nvPicPr>
          <p:cNvPr id="12" name="Picture 4">
            <a:hlinkClick r:id="rId7"/>
            <a:extLst>
              <a:ext uri="{FF2B5EF4-FFF2-40B4-BE49-F238E27FC236}">
                <a16:creationId xmlns:a16="http://schemas.microsoft.com/office/drawing/2014/main" id="{D3F9462A-9181-7B6F-0C53-88633CD0910A}"/>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280915" y="5571089"/>
            <a:ext cx="333195" cy="333195"/>
          </a:xfrm>
          <a:prstGeom prst="rect">
            <a:avLst/>
          </a:prstGeom>
          <a:noFill/>
        </p:spPr>
      </p:pic>
      <p:pic>
        <p:nvPicPr>
          <p:cNvPr id="17" name="Picture 6">
            <a:hlinkClick r:id="rId9"/>
            <a:extLst>
              <a:ext uri="{FF2B5EF4-FFF2-40B4-BE49-F238E27FC236}">
                <a16:creationId xmlns:a16="http://schemas.microsoft.com/office/drawing/2014/main" id="{0057A36D-710A-32C2-2461-BFFF579A0993}"/>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64227" y="5571089"/>
            <a:ext cx="333195" cy="333195"/>
          </a:xfrm>
          <a:prstGeom prst="rect">
            <a:avLst/>
          </a:prstGeom>
          <a:noFill/>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394960547"/>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Final Slide white">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A46A5DB-4C4F-1F79-F6F4-3019062D13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25" name="Rectangle 24">
            <a:extLst>
              <a:ext uri="{FF2B5EF4-FFF2-40B4-BE49-F238E27FC236}">
                <a16:creationId xmlns:a16="http://schemas.microsoft.com/office/drawing/2014/main" id="{771C8D6D-C61C-2819-3276-89D365F7CAE8}"/>
              </a:ext>
            </a:extLst>
          </p:cNvPr>
          <p:cNvSpPr/>
          <p:nvPr userDrawn="1"/>
        </p:nvSpPr>
        <p:spPr>
          <a:xfrm>
            <a:off x="8554179" y="6053226"/>
            <a:ext cx="3242029" cy="400110"/>
          </a:xfrm>
          <a:prstGeom prst="rect">
            <a:avLst/>
          </a:prstGeom>
        </p:spPr>
        <p:txBody>
          <a:bodyPr wrap="square" lIns="0" tIns="0" rIns="0" bIns="0" anchor="b" anchorCtr="0">
            <a:spAutoFit/>
          </a:bodyPr>
          <a:lstStyle/>
          <a:p>
            <a:pPr>
              <a:spcAft>
                <a:spcPts val="600"/>
              </a:spcAft>
            </a:pPr>
            <a:r>
              <a:rPr lang="en-US" sz="700" noProof="0">
                <a:solidFill>
                  <a:schemeClr val="tx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tx1"/>
                </a:solidFill>
                <a:latin typeface="+mn-lt"/>
                <a:cs typeface="Arial"/>
              </a:rPr>
              <a:t>Copyright © 2024 Capgemini. All rights reserved.</a:t>
            </a:r>
          </a:p>
        </p:txBody>
      </p:sp>
      <p:pic>
        <p:nvPicPr>
          <p:cNvPr id="26" name="Picture 7">
            <a:hlinkClick r:id="rId3"/>
            <a:extLst>
              <a:ext uri="{FF2B5EF4-FFF2-40B4-BE49-F238E27FC236}">
                <a16:creationId xmlns:a16="http://schemas.microsoft.com/office/drawing/2014/main" id="{23996BED-DA79-7795-E8CC-89B8B4F54B9E}"/>
              </a:ext>
            </a:extLst>
          </p:cNvPr>
          <p:cNvPicPr>
            <a:picLocks noChangeAspect="1" noChangeArrowheads="1"/>
          </p:cNvPicPr>
          <p:nvPr userDrawn="1"/>
        </p:nvPicPr>
        <p:blipFill>
          <a:blip r:embed="rId4" cstate="screen">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522933" y="5569299"/>
            <a:ext cx="333195" cy="333195"/>
          </a:xfrm>
          <a:prstGeom prst="rect">
            <a:avLst/>
          </a:prstGeom>
          <a:noFill/>
        </p:spPr>
      </p:pic>
      <p:pic>
        <p:nvPicPr>
          <p:cNvPr id="27" name="Picture 2">
            <a:hlinkClick r:id="rId6"/>
            <a:extLst>
              <a:ext uri="{FF2B5EF4-FFF2-40B4-BE49-F238E27FC236}">
                <a16:creationId xmlns:a16="http://schemas.microsoft.com/office/drawing/2014/main" id="{41F22088-9EDE-E75E-205B-071BC64768AD}"/>
              </a:ext>
            </a:extLst>
          </p:cNvPr>
          <p:cNvPicPr>
            <a:picLocks noChangeAspect="1" noChangeArrowheads="1"/>
          </p:cNvPicPr>
          <p:nvPr userDrawn="1"/>
        </p:nvPicPr>
        <p:blipFill>
          <a:blip r:embed="rId7" cstate="screen">
            <a:duotone>
              <a:prstClr val="black"/>
              <a:schemeClr val="accent4">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906310" y="5569299"/>
            <a:ext cx="333195" cy="333195"/>
          </a:xfrm>
          <a:prstGeom prst="rect">
            <a:avLst/>
          </a:prstGeom>
          <a:noFill/>
        </p:spPr>
      </p:pic>
      <p:pic>
        <p:nvPicPr>
          <p:cNvPr id="28" name="Picture 4">
            <a:hlinkClick r:id="rId9"/>
            <a:extLst>
              <a:ext uri="{FF2B5EF4-FFF2-40B4-BE49-F238E27FC236}">
                <a16:creationId xmlns:a16="http://schemas.microsoft.com/office/drawing/2014/main" id="{4B0CCAD4-0758-D6B9-EFF6-02B94D32DE46}"/>
              </a:ext>
            </a:extLst>
          </p:cNvPr>
          <p:cNvPicPr>
            <a:picLocks noChangeAspect="1" noChangeArrowheads="1"/>
          </p:cNvPicPr>
          <p:nvPr userDrawn="1"/>
        </p:nvPicPr>
        <p:blipFill>
          <a:blip r:embed="rId10" cstate="screen">
            <a:duotone>
              <a:prstClr val="black"/>
              <a:schemeClr val="accent4">
                <a:tint val="45000"/>
                <a:satMod val="400000"/>
              </a:schemeClr>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289687" y="5569299"/>
            <a:ext cx="333195" cy="333195"/>
          </a:xfrm>
          <a:prstGeom prst="rect">
            <a:avLst/>
          </a:prstGeom>
          <a:noFill/>
        </p:spPr>
      </p:pic>
      <p:pic>
        <p:nvPicPr>
          <p:cNvPr id="30" name="Picture 6">
            <a:hlinkClick r:id="rId12"/>
            <a:extLst>
              <a:ext uri="{FF2B5EF4-FFF2-40B4-BE49-F238E27FC236}">
                <a16:creationId xmlns:a16="http://schemas.microsoft.com/office/drawing/2014/main" id="{97D8A9F7-9109-48D0-0781-197117BF809D}"/>
              </a:ext>
            </a:extLst>
          </p:cNvPr>
          <p:cNvPicPr>
            <a:picLocks noChangeAspect="1" noChangeArrowheads="1"/>
          </p:cNvPicPr>
          <p:nvPr userDrawn="1"/>
        </p:nvPicPr>
        <p:blipFill>
          <a:blip r:embed="rId13" cstate="screen">
            <a:duotone>
              <a:prstClr val="black"/>
              <a:schemeClr val="accent4">
                <a:tint val="45000"/>
                <a:satMod val="400000"/>
              </a:schemeClr>
            </a:duoton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664227" y="5571089"/>
            <a:ext cx="333195" cy="333195"/>
          </a:xfrm>
          <a:prstGeom prst="rect">
            <a:avLst/>
          </a:prstGeom>
          <a:noFill/>
        </p:spPr>
      </p:pic>
      <p:grpSp>
        <p:nvGrpSpPr>
          <p:cNvPr id="2" name="Group 1">
            <a:extLst>
              <a:ext uri="{FF2B5EF4-FFF2-40B4-BE49-F238E27FC236}">
                <a16:creationId xmlns:a16="http://schemas.microsoft.com/office/drawing/2014/main" id="{FE4C124A-1677-5379-4F1F-D80E084B6A07}"/>
              </a:ext>
            </a:extLst>
          </p:cNvPr>
          <p:cNvGrpSpPr>
            <a:grpSpLocks noChangeAspect="1"/>
          </p:cNvGrpSpPr>
          <p:nvPr userDrawn="1"/>
        </p:nvGrpSpPr>
        <p:grpSpPr>
          <a:xfrm>
            <a:off x="443236" y="6021288"/>
            <a:ext cx="1872000" cy="420870"/>
            <a:chOff x="5095385" y="4090756"/>
            <a:chExt cx="3033729" cy="682053"/>
          </a:xfrm>
        </p:grpSpPr>
        <p:sp>
          <p:nvSpPr>
            <p:cNvPr id="3" name="Freeform: Shape 2">
              <a:extLst>
                <a:ext uri="{FF2B5EF4-FFF2-40B4-BE49-F238E27FC236}">
                  <a16:creationId xmlns:a16="http://schemas.microsoft.com/office/drawing/2014/main" id="{17CD1832-464E-8F19-D1FF-C26D2A4008C4}"/>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4" name="Freeform: Shape 3">
              <a:extLst>
                <a:ext uri="{FF2B5EF4-FFF2-40B4-BE49-F238E27FC236}">
                  <a16:creationId xmlns:a16="http://schemas.microsoft.com/office/drawing/2014/main" id="{A27580D5-10C4-1378-1B16-22D2C6577A5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5" name="Freeform: Shape 4">
              <a:extLst>
                <a:ext uri="{FF2B5EF4-FFF2-40B4-BE49-F238E27FC236}">
                  <a16:creationId xmlns:a16="http://schemas.microsoft.com/office/drawing/2014/main" id="{8296E9CB-B7F8-9F5C-5A91-CC70339F4284}"/>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6" name="Freeform: Shape 14">
              <a:extLst>
                <a:ext uri="{FF2B5EF4-FFF2-40B4-BE49-F238E27FC236}">
                  <a16:creationId xmlns:a16="http://schemas.microsoft.com/office/drawing/2014/main" id="{4046F42C-B4B1-F5B5-97B0-295157FB511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7" name="Freeform: Shape 20">
              <a:extLst>
                <a:ext uri="{FF2B5EF4-FFF2-40B4-BE49-F238E27FC236}">
                  <a16:creationId xmlns:a16="http://schemas.microsoft.com/office/drawing/2014/main" id="{B9876A18-1EED-B3A2-6F45-2D9C7CE3D38D}"/>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842618807"/>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3_Titre seul">
    <p:bg>
      <p:bgPr>
        <a:solidFill>
          <a:schemeClr val="accent4"/>
        </a:solidFill>
        <a:effectLst/>
      </p:bgPr>
    </p:bg>
    <p:spTree>
      <p:nvGrpSpPr>
        <p:cNvPr id="1" name=""/>
        <p:cNvGrpSpPr/>
        <p:nvPr/>
      </p:nvGrpSpPr>
      <p:grpSpPr>
        <a:xfrm>
          <a:off x="0" y="0"/>
          <a:ext cx="0" cy="0"/>
          <a:chOff x="0" y="0"/>
          <a:chExt cx="0" cy="0"/>
        </a:xfrm>
      </p:grpSpPr>
      <p:pic>
        <p:nvPicPr>
          <p:cNvPr id="3" name="Picture 2" descr="A person sitting at a desk looking at a screen with drawings&#10;&#10;Description automatically generated with low confidence">
            <a:extLst>
              <a:ext uri="{FF2B5EF4-FFF2-40B4-BE49-F238E27FC236}">
                <a16:creationId xmlns:a16="http://schemas.microsoft.com/office/drawing/2014/main" id="{25416125-19EF-69A4-9D8C-663395F7515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2560"/>
            <a:ext cx="12192000" cy="6832879"/>
          </a:xfrm>
          <a:prstGeom prst="rect">
            <a:avLst/>
          </a:prstGeom>
        </p:spPr>
      </p:pic>
      <p:sp>
        <p:nvSpPr>
          <p:cNvPr id="7" name="Rectangle 6">
            <a:extLst>
              <a:ext uri="{FF2B5EF4-FFF2-40B4-BE49-F238E27FC236}">
                <a16:creationId xmlns:a16="http://schemas.microsoft.com/office/drawing/2014/main" id="{00C0BD43-9130-9771-6A24-86CF882B1306}"/>
              </a:ext>
            </a:extLst>
          </p:cNvPr>
          <p:cNvSpPr/>
          <p:nvPr userDrawn="1"/>
        </p:nvSpPr>
        <p:spPr>
          <a:xfrm>
            <a:off x="0" y="0"/>
            <a:ext cx="12192000" cy="6858000"/>
          </a:xfrm>
          <a:prstGeom prst="rect">
            <a:avLst/>
          </a:prstGeom>
          <a:gradFill flip="none" rotWithShape="1">
            <a:gsLst>
              <a:gs pos="19000">
                <a:srgbClr val="3D4055">
                  <a:lumMod val="0"/>
                </a:srgbClr>
              </a:gs>
              <a:gs pos="100000">
                <a:srgbClr val="3D4055">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6" name="object 76">
            <a:extLst>
              <a:ext uri="{FF2B5EF4-FFF2-40B4-BE49-F238E27FC236}">
                <a16:creationId xmlns:a16="http://schemas.microsoft.com/office/drawing/2014/main" id="{E6CA4173-3518-10DD-3C27-F3E85ED82FAC}"/>
              </a:ext>
              <a:ext uri="{C183D7F6-B498-43B3-948B-1728B52AA6E4}">
                <adec:decorative xmlns:adec="http://schemas.microsoft.com/office/drawing/2017/decorative" val="1"/>
              </a:ext>
            </a:extLst>
          </p:cNvPr>
          <p:cNvSpPr/>
          <p:nvPr userDrawn="1"/>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pPr defTabSz="554492"/>
            <a:endParaRPr sz="1092">
              <a:solidFill>
                <a:prstClr val="black"/>
              </a:solidFill>
              <a:latin typeface="Ubuntu"/>
            </a:endParaRPr>
          </a:p>
        </p:txBody>
      </p:sp>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tângulo 43">
            <a:extLst>
              <a:ext uri="{FF2B5EF4-FFF2-40B4-BE49-F238E27FC236}">
                <a16:creationId xmlns:a16="http://schemas.microsoft.com/office/drawing/2014/main" id="{57B75F62-1FDD-A0D9-5B9B-980CB5F41AB1}"/>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9" name="Rectangle 27">
            <a:extLst>
              <a:ext uri="{FF2B5EF4-FFF2-40B4-BE49-F238E27FC236}">
                <a16:creationId xmlns:a16="http://schemas.microsoft.com/office/drawing/2014/main" id="{A954C80F-4D89-4426-0382-54CB05FDE944}"/>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Restricted © Capgemini 2023. All rights reserved  |</a:t>
            </a:r>
          </a:p>
        </p:txBody>
      </p:sp>
    </p:spTree>
    <p:extLst>
      <p:ext uri="{BB962C8B-B14F-4D97-AF65-F5344CB8AC3E}">
        <p14:creationId xmlns:p14="http://schemas.microsoft.com/office/powerpoint/2010/main" val="17204717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8EDD86A9-A101-4431-BC7F-D7A613B745EB}"/>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92E5232F-44F9-4DA7-8CAF-37E7E772B19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ED6443D4-9252-4F48-B3B1-DE1F07A5D421}"/>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00D6E549-1EDB-4087-A87E-246AD0B86307}"/>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9B59D2B6-7CA0-4DD1-ACF9-FE9B371E6A4B}"/>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D752C13A-0707-4DB7-BEE5-11C70CC4104C}"/>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871301230"/>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6" name="Group 5">
            <a:extLst>
              <a:ext uri="{FF2B5EF4-FFF2-40B4-BE49-F238E27FC236}">
                <a16:creationId xmlns:a16="http://schemas.microsoft.com/office/drawing/2014/main" id="{138C36DE-BE7C-4EA8-8C11-63DF35071C75}"/>
              </a:ext>
            </a:extLst>
          </p:cNvPr>
          <p:cNvGrpSpPr>
            <a:grpSpLocks noChangeAspect="1"/>
          </p:cNvGrpSpPr>
          <p:nvPr userDrawn="1"/>
        </p:nvGrpSpPr>
        <p:grpSpPr>
          <a:xfrm>
            <a:off x="476900" y="611982"/>
            <a:ext cx="2267015" cy="509586"/>
            <a:chOff x="9550400" y="612775"/>
            <a:chExt cx="2231297" cy="501650"/>
          </a:xfrm>
        </p:grpSpPr>
        <p:sp>
          <p:nvSpPr>
            <p:cNvPr id="8" name="Freeform: Shape 7">
              <a:extLst>
                <a:ext uri="{FF2B5EF4-FFF2-40B4-BE49-F238E27FC236}">
                  <a16:creationId xmlns:a16="http://schemas.microsoft.com/office/drawing/2014/main" id="{F832A913-EBD0-4A52-9BC5-C515E20AA2D2}"/>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6C7C00F4-BABA-40DB-9C59-16A7B33536DE}"/>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6629252-ADFC-4FC9-85E5-6800A45F303B}"/>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DB5264D-26DE-4A16-881C-0B8EE6975DF9}"/>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1478FE54-3447-4979-8CE3-A274C8BD5A44}"/>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94286606"/>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0240C396-6AE9-4D76-A223-20E91B036600}"/>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FC704551-0A43-448B-9BC4-076647B2D2FA}"/>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57D7C248-3780-4A7C-95A8-D356BF27AD73}"/>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217CBF3A-5C0A-4C4E-9FD3-E028E791FE81}"/>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CD80AA6-A949-4FC4-8CD0-6E6D7300DF2C}"/>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E8743398-464F-49A4-8D54-C73C461670F9}"/>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14131444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Conclusion">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ck to </a:t>
            </a:r>
            <a:r>
              <a:rPr lang="fr-FR" err="1"/>
              <a:t>edit</a:t>
            </a:r>
            <a:r>
              <a:rPr lang="fr-FR"/>
              <a:t> master </a:t>
            </a:r>
            <a:r>
              <a:rPr lang="fr-FR" err="1"/>
              <a:t>title</a:t>
            </a:r>
            <a:r>
              <a:rPr lang="fr-FR"/>
              <a:t> Style</a:t>
            </a:r>
          </a:p>
        </p:txBody>
      </p:sp>
      <p:grpSp>
        <p:nvGrpSpPr>
          <p:cNvPr id="5" name="Group 2">
            <a:extLst>
              <a:ext uri="{FF2B5EF4-FFF2-40B4-BE49-F238E27FC236}">
                <a16:creationId xmlns:a16="http://schemas.microsoft.com/office/drawing/2014/main" id="{6C2E4BB5-C5E3-F6F8-4261-BF330F6E49AC}"/>
              </a:ext>
            </a:extLst>
          </p:cNvPr>
          <p:cNvGrpSpPr>
            <a:grpSpLocks noChangeAspect="1"/>
          </p:cNvGrpSpPr>
          <p:nvPr userDrawn="1"/>
        </p:nvGrpSpPr>
        <p:grpSpPr>
          <a:xfrm>
            <a:off x="443568" y="6021288"/>
            <a:ext cx="1872000" cy="420870"/>
            <a:chOff x="5094083" y="5360390"/>
            <a:chExt cx="3039349" cy="683316"/>
          </a:xfrm>
        </p:grpSpPr>
        <p:sp>
          <p:nvSpPr>
            <p:cNvPr id="7" name="Freeform: Shape 4">
              <a:extLst>
                <a:ext uri="{FF2B5EF4-FFF2-40B4-BE49-F238E27FC236}">
                  <a16:creationId xmlns:a16="http://schemas.microsoft.com/office/drawing/2014/main" id="{0F3FBF3D-73C2-AEF9-6A29-26E9974EB2B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8" name="Freeform: Shape 5">
              <a:extLst>
                <a:ext uri="{FF2B5EF4-FFF2-40B4-BE49-F238E27FC236}">
                  <a16:creationId xmlns:a16="http://schemas.microsoft.com/office/drawing/2014/main" id="{16D7EF54-CF87-4A1F-B1F7-681296888423}"/>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9" name="Freeform: Shape 6">
              <a:extLst>
                <a:ext uri="{FF2B5EF4-FFF2-40B4-BE49-F238E27FC236}">
                  <a16:creationId xmlns:a16="http://schemas.microsoft.com/office/drawing/2014/main" id="{411034BC-7D78-A8D4-1F4A-8C4D8937B48B}"/>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0" name="Freeform: Shape 7">
              <a:extLst>
                <a:ext uri="{FF2B5EF4-FFF2-40B4-BE49-F238E27FC236}">
                  <a16:creationId xmlns:a16="http://schemas.microsoft.com/office/drawing/2014/main" id="{91A42476-4DC0-A3D4-0B82-C32497A9655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61A1CDED-A495-D2CB-B478-6B5C933C774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1054674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en-US"/>
              <a:t>Click to edit Master title styl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en-US"/>
              <a:t>Click icon to add pictur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922745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68396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7170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9860087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73165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43155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819840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449913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88493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89918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Conclusion">
    <p:bg>
      <p:bgPr>
        <a:solidFill>
          <a:schemeClr val="accent4"/>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ck to </a:t>
            </a:r>
            <a:r>
              <a:rPr lang="fr-FR" err="1"/>
              <a:t>edit</a:t>
            </a:r>
            <a:r>
              <a:rPr lang="fr-FR"/>
              <a:t> master </a:t>
            </a:r>
            <a:r>
              <a:rPr lang="fr-FR" err="1"/>
              <a:t>title</a:t>
            </a:r>
            <a:r>
              <a:rPr lang="fr-FR"/>
              <a:t> Style</a:t>
            </a:r>
          </a:p>
        </p:txBody>
      </p:sp>
      <p:grpSp>
        <p:nvGrpSpPr>
          <p:cNvPr id="2" name="Group 1">
            <a:extLst>
              <a:ext uri="{FF2B5EF4-FFF2-40B4-BE49-F238E27FC236}">
                <a16:creationId xmlns:a16="http://schemas.microsoft.com/office/drawing/2014/main" id="{D5EC1CE0-E890-6F27-EC37-CCBB63335D47}"/>
              </a:ext>
            </a:extLst>
          </p:cNvPr>
          <p:cNvGrpSpPr>
            <a:grpSpLocks noChangeAspect="1"/>
          </p:cNvGrpSpPr>
          <p:nvPr userDrawn="1"/>
        </p:nvGrpSpPr>
        <p:grpSpPr>
          <a:xfrm>
            <a:off x="443236" y="6021288"/>
            <a:ext cx="1872000" cy="420870"/>
            <a:chOff x="5095385" y="4090756"/>
            <a:chExt cx="3033729" cy="682053"/>
          </a:xfrm>
        </p:grpSpPr>
        <p:sp>
          <p:nvSpPr>
            <p:cNvPr id="6" name="Freeform: Shape 2">
              <a:extLst>
                <a:ext uri="{FF2B5EF4-FFF2-40B4-BE49-F238E27FC236}">
                  <a16:creationId xmlns:a16="http://schemas.microsoft.com/office/drawing/2014/main" id="{FC1EFD8E-6111-C0FE-F23B-7FCABA181AFF}"/>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1" name="Freeform: Shape 3">
              <a:extLst>
                <a:ext uri="{FF2B5EF4-FFF2-40B4-BE49-F238E27FC236}">
                  <a16:creationId xmlns:a16="http://schemas.microsoft.com/office/drawing/2014/main" id="{2E0336C3-FD2D-34F2-37FE-01F1463B9B1A}"/>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4">
              <a:extLst>
                <a:ext uri="{FF2B5EF4-FFF2-40B4-BE49-F238E27FC236}">
                  <a16:creationId xmlns:a16="http://schemas.microsoft.com/office/drawing/2014/main" id="{BCC79B1A-4DEF-2D28-22B2-7BFA7646E1A5}"/>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14">
              <a:extLst>
                <a:ext uri="{FF2B5EF4-FFF2-40B4-BE49-F238E27FC236}">
                  <a16:creationId xmlns:a16="http://schemas.microsoft.com/office/drawing/2014/main" id="{95610CD6-85BD-3AFA-95C6-25178AB66F0D}"/>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4" name="Freeform: Shape 20">
              <a:extLst>
                <a:ext uri="{FF2B5EF4-FFF2-40B4-BE49-F238E27FC236}">
                  <a16:creationId xmlns:a16="http://schemas.microsoft.com/office/drawing/2014/main" id="{DE7326A8-CE97-C71F-CFF8-B35813A22238}"/>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2962472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480516438"/>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46667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1"/>
                </a:solidFill>
              </a:defRPr>
            </a:lvl1pPr>
          </a:lstStyle>
          <a:p>
            <a:r>
              <a:rPr lang="de-DE"/>
              <a:t>Insert picture, edit alt text and send </a:t>
            </a:r>
            <a:r>
              <a:rPr lang="de-DE" err="1"/>
              <a:t>to</a:t>
            </a:r>
            <a:r>
              <a:rPr lang="de-DE"/>
              <a:t> back</a:t>
            </a:r>
          </a:p>
        </p:txBody>
      </p:sp>
    </p:spTree>
    <p:extLst>
      <p:ext uri="{BB962C8B-B14F-4D97-AF65-F5344CB8AC3E}">
        <p14:creationId xmlns:p14="http://schemas.microsoft.com/office/powerpoint/2010/main" val="4005045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20291226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808368" flipV="1">
            <a:off x="4403152" y="337083"/>
            <a:ext cx="8831279" cy="4103533"/>
          </a:xfrm>
          <a:prstGeom prst="rect">
            <a:avLst/>
          </a:prstGeom>
        </p:spPr>
      </p:pic>
      <p:pic>
        <p:nvPicPr>
          <p:cNvPr id="21" name="Picture 7" descr="facebook">
            <a:hlinkClick r:id="rId3"/>
          </p:cNvPr>
          <p:cNvPicPr>
            <a:picLocks noChangeAspect="1" noChangeArrowheads="1"/>
          </p:cNvPicPr>
          <p:nvPr/>
        </p:nvPicPr>
        <p:blipFill>
          <a:blip r:embed="rId4" cstate="print"/>
          <a:srcRect/>
          <a:stretch>
            <a:fillRect/>
          </a:stretch>
        </p:blipFill>
        <p:spPr bwMode="auto">
          <a:xfrm>
            <a:off x="426720" y="4968013"/>
            <a:ext cx="333195" cy="333195"/>
          </a:xfrm>
          <a:prstGeom prst="rect">
            <a:avLst/>
          </a:prstGeom>
          <a:noFill/>
        </p:spPr>
      </p:pic>
      <p:pic>
        <p:nvPicPr>
          <p:cNvPr id="17" name="Picture 2" descr="LinkedIn">
            <a:hlinkClick r:id="rId5"/>
          </p:cNvPr>
          <p:cNvPicPr>
            <a:picLocks noChangeAspect="1" noChangeArrowheads="1"/>
          </p:cNvPicPr>
          <p:nvPr/>
        </p:nvPicPr>
        <p:blipFill>
          <a:blip r:embed="rId6" cstate="print"/>
          <a:srcRect/>
          <a:stretch>
            <a:fillRect/>
          </a:stretch>
        </p:blipFill>
        <p:spPr bwMode="auto">
          <a:xfrm>
            <a:off x="810097" y="4968013"/>
            <a:ext cx="333195" cy="333195"/>
          </a:xfrm>
          <a:prstGeom prst="rect">
            <a:avLst/>
          </a:prstGeom>
          <a:noFill/>
        </p:spPr>
      </p:pic>
      <p:pic>
        <p:nvPicPr>
          <p:cNvPr id="18" name="Picture 4" descr="SlideShare">
            <a:hlinkClick r:id="rId7"/>
          </p:cNvPr>
          <p:cNvPicPr>
            <a:picLocks noChangeAspect="1" noChangeArrowheads="1"/>
          </p:cNvPicPr>
          <p:nvPr/>
        </p:nvPicPr>
        <p:blipFill>
          <a:blip r:embed="rId8" cstate="print"/>
          <a:srcRect/>
          <a:stretch>
            <a:fillRect/>
          </a:stretch>
        </p:blipFill>
        <p:spPr bwMode="auto">
          <a:xfrm>
            <a:off x="1193474" y="4968013"/>
            <a:ext cx="333195" cy="333195"/>
          </a:xfrm>
          <a:prstGeom prst="rect">
            <a:avLst/>
          </a:prstGeom>
          <a:noFill/>
        </p:spPr>
      </p:pic>
      <p:pic>
        <p:nvPicPr>
          <p:cNvPr id="19" name="Picture 5" descr="Twitter">
            <a:hlinkClick r:id="rId9"/>
          </p:cNvPr>
          <p:cNvPicPr>
            <a:picLocks noChangeAspect="1" noChangeArrowheads="1"/>
          </p:cNvPicPr>
          <p:nvPr/>
        </p:nvPicPr>
        <p:blipFill>
          <a:blip r:embed="rId10" cstate="print"/>
          <a:srcRect/>
          <a:stretch>
            <a:fillRect/>
          </a:stretch>
        </p:blipFill>
        <p:spPr bwMode="auto">
          <a:xfrm>
            <a:off x="1576851" y="4968013"/>
            <a:ext cx="333195" cy="333195"/>
          </a:xfrm>
          <a:prstGeom prst="rect">
            <a:avLst/>
          </a:prstGeom>
          <a:noFill/>
        </p:spPr>
      </p:pic>
      <p:pic>
        <p:nvPicPr>
          <p:cNvPr id="20" name="Picture 6" descr="YouTube">
            <a:hlinkClick r:id="rId11"/>
          </p:cNvPr>
          <p:cNvPicPr>
            <a:picLocks noChangeAspect="1" noChangeArrowheads="1"/>
          </p:cNvPicPr>
          <p:nvPr userDrawn="1"/>
        </p:nvPicPr>
        <p:blipFill>
          <a:blip r:embed="rId12" cstate="print"/>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3 Capgemini. All rights reserved.</a:t>
            </a:r>
          </a:p>
        </p:txBody>
      </p:sp>
      <p:grpSp>
        <p:nvGrpSpPr>
          <p:cNvPr id="10" name="Group 9">
            <a:extLst>
              <a:ext uri="{FF2B5EF4-FFF2-40B4-BE49-F238E27FC236}">
                <a16:creationId xmlns:a16="http://schemas.microsoft.com/office/drawing/2014/main" id="{D2BF7E9C-FD5C-450A-A1FB-17FC5765ED64}"/>
              </a:ext>
            </a:extLst>
          </p:cNvPr>
          <p:cNvGrpSpPr>
            <a:grpSpLocks noChangeAspect="1"/>
          </p:cNvGrpSpPr>
          <p:nvPr userDrawn="1"/>
        </p:nvGrpSpPr>
        <p:grpSpPr>
          <a:xfrm>
            <a:off x="411020" y="984393"/>
            <a:ext cx="2231297" cy="501650"/>
            <a:chOff x="9550400" y="612775"/>
            <a:chExt cx="2231297" cy="501650"/>
          </a:xfrm>
        </p:grpSpPr>
        <p:sp>
          <p:nvSpPr>
            <p:cNvPr id="11" name="Freeform: Shape 10">
              <a:extLst>
                <a:ext uri="{FF2B5EF4-FFF2-40B4-BE49-F238E27FC236}">
                  <a16:creationId xmlns:a16="http://schemas.microsoft.com/office/drawing/2014/main" id="{DD26A2F9-4026-4DA7-B00A-AE48A8B0CD4D}"/>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0DCE7524-34A1-429B-91AD-74BE1F944E0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0F68A571-28DB-453F-861D-36D50723ED4D}"/>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923DB0AA-5015-4FEA-A32D-44257CF2BED3}"/>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3E8CD59B-E3D8-4E45-86AA-3D0BB06038CE}"/>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120050416"/>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print"/>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print"/>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print"/>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print"/>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2" cstate="print"/>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3 Capgemini. All rights reserved.</a:t>
            </a:r>
          </a:p>
        </p:txBody>
      </p:sp>
      <p:grpSp>
        <p:nvGrpSpPr>
          <p:cNvPr id="10" name="Group 9">
            <a:extLst>
              <a:ext uri="{FF2B5EF4-FFF2-40B4-BE49-F238E27FC236}">
                <a16:creationId xmlns:a16="http://schemas.microsoft.com/office/drawing/2014/main" id="{665BE2A4-4ACC-4E54-9A85-77DFC7F65F01}"/>
              </a:ext>
            </a:extLst>
          </p:cNvPr>
          <p:cNvGrpSpPr>
            <a:grpSpLocks noChangeAspect="1"/>
          </p:cNvGrpSpPr>
          <p:nvPr userDrawn="1"/>
        </p:nvGrpSpPr>
        <p:grpSpPr>
          <a:xfrm>
            <a:off x="9161718" y="5747778"/>
            <a:ext cx="2231297" cy="501650"/>
            <a:chOff x="9550400" y="612775"/>
            <a:chExt cx="2231297" cy="501650"/>
          </a:xfrm>
        </p:grpSpPr>
        <p:sp>
          <p:nvSpPr>
            <p:cNvPr id="11" name="Freeform: Shape 10">
              <a:extLst>
                <a:ext uri="{FF2B5EF4-FFF2-40B4-BE49-F238E27FC236}">
                  <a16:creationId xmlns:a16="http://schemas.microsoft.com/office/drawing/2014/main" id="{0CE61B69-C06F-4D0A-9437-BC399186700C}"/>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6F08509-FA85-4193-A497-0E692E886745}"/>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A40793F6-8550-4F9A-98A1-4BD1C63DE3E6}"/>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AF68DDBF-3EE2-4BFD-9E41-A500A2DB8E18}"/>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F22E4E1F-DFDD-4EF6-8781-D2EC7D60F89D}"/>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0770900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Title Slide 3 Full Picture">
    <p:bg>
      <p:bgPr>
        <a:solidFill>
          <a:schemeClr val="accent4"/>
        </a:solidFill>
        <a:effectLst/>
      </p:bgPr>
    </p:bg>
    <p:spTree>
      <p:nvGrpSpPr>
        <p:cNvPr id="1" name=""/>
        <p:cNvGrpSpPr/>
        <p:nvPr/>
      </p:nvGrpSpPr>
      <p:grpSpPr>
        <a:xfrm>
          <a:off x="0" y="0"/>
          <a:ext cx="0" cy="0"/>
          <a:chOff x="0" y="0"/>
          <a:chExt cx="0" cy="0"/>
        </a:xfrm>
      </p:grpSpPr>
      <p:sp>
        <p:nvSpPr>
          <p:cNvPr id="7" name="Picture Placeholder 24">
            <a:extLst>
              <a:ext uri="{FF2B5EF4-FFF2-40B4-BE49-F238E27FC236}">
                <a16:creationId xmlns:a16="http://schemas.microsoft.com/office/drawing/2014/main" id="{AA5F3EBC-E5BB-4F23-8682-D1866F0D4F8F}"/>
              </a:ext>
            </a:extLst>
          </p:cNvPr>
          <p:cNvSpPr>
            <a:spLocks noGrp="1"/>
          </p:cNvSpPr>
          <p:nvPr>
            <p:ph type="pic" sz="quarter" idx="10" hasCustomPrompt="1"/>
          </p:nvPr>
        </p:nvSpPr>
        <p:spPr>
          <a:xfrm>
            <a:off x="0" y="0"/>
            <a:ext cx="12192000" cy="6858000"/>
          </a:xfrm>
          <a:custGeom>
            <a:avLst/>
            <a:gdLst>
              <a:gd name="connsiteX0" fmla="*/ 9343829 w 12192000"/>
              <a:gd name="connsiteY0" fmla="*/ 959868 h 6858000"/>
              <a:gd name="connsiteX1" fmla="*/ 9294981 w 12192000"/>
              <a:gd name="connsiteY1" fmla="*/ 1078731 h 6858000"/>
              <a:gd name="connsiteX2" fmla="*/ 9271643 w 12192000"/>
              <a:gd name="connsiteY2" fmla="*/ 1047794 h 6858000"/>
              <a:gd name="connsiteX3" fmla="*/ 9343829 w 12192000"/>
              <a:gd name="connsiteY3" fmla="*/ 959868 h 6858000"/>
              <a:gd name="connsiteX4" fmla="*/ 11404665 w 12192000"/>
              <a:gd name="connsiteY4" fmla="*/ 772073 h 6858000"/>
              <a:gd name="connsiteX5" fmla="*/ 11422576 w 12192000"/>
              <a:gd name="connsiteY5" fmla="*/ 775872 h 6858000"/>
              <a:gd name="connsiteX6" fmla="*/ 11435602 w 12192000"/>
              <a:gd name="connsiteY6" fmla="*/ 786185 h 6858000"/>
              <a:gd name="connsiteX7" fmla="*/ 11443743 w 12192000"/>
              <a:gd name="connsiteY7" fmla="*/ 801382 h 6858000"/>
              <a:gd name="connsiteX8" fmla="*/ 11446457 w 12192000"/>
              <a:gd name="connsiteY8" fmla="*/ 819836 h 6858000"/>
              <a:gd name="connsiteX9" fmla="*/ 11359074 w 12192000"/>
              <a:gd name="connsiteY9" fmla="*/ 819836 h 6858000"/>
              <a:gd name="connsiteX10" fmla="*/ 11363416 w 12192000"/>
              <a:gd name="connsiteY10" fmla="*/ 802467 h 6858000"/>
              <a:gd name="connsiteX11" fmla="*/ 11372100 w 12192000"/>
              <a:gd name="connsiteY11" fmla="*/ 787270 h 6858000"/>
              <a:gd name="connsiteX12" fmla="*/ 11385668 w 12192000"/>
              <a:gd name="connsiteY12" fmla="*/ 776415 h 6858000"/>
              <a:gd name="connsiteX13" fmla="*/ 11404665 w 12192000"/>
              <a:gd name="connsiteY13" fmla="*/ 772073 h 6858000"/>
              <a:gd name="connsiteX14" fmla="*/ 9493087 w 12192000"/>
              <a:gd name="connsiteY14" fmla="*/ 766103 h 6858000"/>
              <a:gd name="connsiteX15" fmla="*/ 9514797 w 12192000"/>
              <a:gd name="connsiteY15" fmla="*/ 799212 h 6858000"/>
              <a:gd name="connsiteX16" fmla="*/ 9467034 w 12192000"/>
              <a:gd name="connsiteY16" fmla="*/ 869227 h 6858000"/>
              <a:gd name="connsiteX17" fmla="*/ 9493087 w 12192000"/>
              <a:gd name="connsiteY17" fmla="*/ 766103 h 6858000"/>
              <a:gd name="connsiteX18" fmla="*/ 11119177 w 12192000"/>
              <a:gd name="connsiteY18" fmla="*/ 740594 h 6858000"/>
              <a:gd name="connsiteX19" fmla="*/ 11189735 w 12192000"/>
              <a:gd name="connsiteY19" fmla="*/ 924046 h 6858000"/>
              <a:gd name="connsiteX20" fmla="*/ 11213074 w 12192000"/>
              <a:gd name="connsiteY20" fmla="*/ 944670 h 6858000"/>
              <a:gd name="connsiteX21" fmla="*/ 11236955 w 12192000"/>
              <a:gd name="connsiteY21" fmla="*/ 944670 h 6858000"/>
              <a:gd name="connsiteX22" fmla="*/ 11314569 w 12192000"/>
              <a:gd name="connsiteY22" fmla="*/ 740594 h 6858000"/>
              <a:gd name="connsiteX23" fmla="*/ 11278747 w 12192000"/>
              <a:gd name="connsiteY23" fmla="*/ 740594 h 6858000"/>
              <a:gd name="connsiteX24" fmla="*/ 11257580 w 12192000"/>
              <a:gd name="connsiteY24" fmla="*/ 761219 h 6858000"/>
              <a:gd name="connsiteX25" fmla="*/ 11217416 w 12192000"/>
              <a:gd name="connsiteY25" fmla="*/ 876825 h 6858000"/>
              <a:gd name="connsiteX26" fmla="*/ 11175624 w 12192000"/>
              <a:gd name="connsiteY26" fmla="*/ 763390 h 6858000"/>
              <a:gd name="connsiteX27" fmla="*/ 11153913 w 12192000"/>
              <a:gd name="connsiteY27" fmla="*/ 740594 h 6858000"/>
              <a:gd name="connsiteX28" fmla="*/ 11130575 w 12192000"/>
              <a:gd name="connsiteY28" fmla="*/ 740594 h 6858000"/>
              <a:gd name="connsiteX29" fmla="*/ 10865711 w 12192000"/>
              <a:gd name="connsiteY29" fmla="*/ 740051 h 6858000"/>
              <a:gd name="connsiteX30" fmla="*/ 10865711 w 12192000"/>
              <a:gd name="connsiteY30" fmla="*/ 910476 h 6858000"/>
              <a:gd name="connsiteX31" fmla="*/ 10899904 w 12192000"/>
              <a:gd name="connsiteY31" fmla="*/ 944670 h 6858000"/>
              <a:gd name="connsiteX32" fmla="*/ 10912930 w 12192000"/>
              <a:gd name="connsiteY32" fmla="*/ 944670 h 6858000"/>
              <a:gd name="connsiteX33" fmla="*/ 10912930 w 12192000"/>
              <a:gd name="connsiteY33" fmla="*/ 771531 h 6858000"/>
              <a:gd name="connsiteX34" fmla="*/ 10881993 w 12192000"/>
              <a:gd name="connsiteY34" fmla="*/ 740051 h 6858000"/>
              <a:gd name="connsiteX35" fmla="*/ 11599515 w 12192000"/>
              <a:gd name="connsiteY35" fmla="*/ 735166 h 6858000"/>
              <a:gd name="connsiteX36" fmla="*/ 11550667 w 12192000"/>
              <a:gd name="connsiteY36" fmla="*/ 738965 h 6858000"/>
              <a:gd name="connsiteX37" fmla="*/ 11514845 w 12192000"/>
              <a:gd name="connsiteY37" fmla="*/ 746563 h 6858000"/>
              <a:gd name="connsiteX38" fmla="*/ 11514845 w 12192000"/>
              <a:gd name="connsiteY38" fmla="*/ 918617 h 6858000"/>
              <a:gd name="connsiteX39" fmla="*/ 11514845 w 12192000"/>
              <a:gd name="connsiteY39" fmla="*/ 924045 h 6858000"/>
              <a:gd name="connsiteX40" fmla="*/ 11536012 w 12192000"/>
              <a:gd name="connsiteY40" fmla="*/ 945212 h 6858000"/>
              <a:gd name="connsiteX41" fmla="*/ 11536555 w 12192000"/>
              <a:gd name="connsiteY41" fmla="*/ 945212 h 6858000"/>
              <a:gd name="connsiteX42" fmla="*/ 11562607 w 12192000"/>
              <a:gd name="connsiteY42" fmla="*/ 945212 h 6858000"/>
              <a:gd name="connsiteX43" fmla="*/ 11562607 w 12192000"/>
              <a:gd name="connsiteY43" fmla="*/ 779129 h 6858000"/>
              <a:gd name="connsiteX44" fmla="*/ 11577261 w 12192000"/>
              <a:gd name="connsiteY44" fmla="*/ 776958 h 6858000"/>
              <a:gd name="connsiteX45" fmla="*/ 11596258 w 12192000"/>
              <a:gd name="connsiteY45" fmla="*/ 775872 h 6858000"/>
              <a:gd name="connsiteX46" fmla="*/ 11616883 w 12192000"/>
              <a:gd name="connsiteY46" fmla="*/ 779129 h 6858000"/>
              <a:gd name="connsiteX47" fmla="*/ 11630451 w 12192000"/>
              <a:gd name="connsiteY47" fmla="*/ 789441 h 6858000"/>
              <a:gd name="connsiteX48" fmla="*/ 11637507 w 12192000"/>
              <a:gd name="connsiteY48" fmla="*/ 808437 h 6858000"/>
              <a:gd name="connsiteX49" fmla="*/ 11639678 w 12192000"/>
              <a:gd name="connsiteY49" fmla="*/ 836661 h 6858000"/>
              <a:gd name="connsiteX50" fmla="*/ 11639678 w 12192000"/>
              <a:gd name="connsiteY50" fmla="*/ 918074 h 6858000"/>
              <a:gd name="connsiteX51" fmla="*/ 11639678 w 12192000"/>
              <a:gd name="connsiteY51" fmla="*/ 923502 h 6858000"/>
              <a:gd name="connsiteX52" fmla="*/ 11660845 w 12192000"/>
              <a:gd name="connsiteY52" fmla="*/ 944669 h 6858000"/>
              <a:gd name="connsiteX53" fmla="*/ 11687441 w 12192000"/>
              <a:gd name="connsiteY53" fmla="*/ 944669 h 6858000"/>
              <a:gd name="connsiteX54" fmla="*/ 11687441 w 12192000"/>
              <a:gd name="connsiteY54" fmla="*/ 829605 h 6858000"/>
              <a:gd name="connsiteX55" fmla="*/ 11682013 w 12192000"/>
              <a:gd name="connsiteY55" fmla="*/ 791069 h 6858000"/>
              <a:gd name="connsiteX56" fmla="*/ 11667902 w 12192000"/>
              <a:gd name="connsiteY56" fmla="*/ 761218 h 6858000"/>
              <a:gd name="connsiteX57" fmla="*/ 11641306 w 12192000"/>
              <a:gd name="connsiteY57" fmla="*/ 742221 h 6858000"/>
              <a:gd name="connsiteX58" fmla="*/ 11599515 w 12192000"/>
              <a:gd name="connsiteY58" fmla="*/ 735166 h 6858000"/>
              <a:gd name="connsiteX59" fmla="*/ 11026367 w 12192000"/>
              <a:gd name="connsiteY59" fmla="*/ 735166 h 6858000"/>
              <a:gd name="connsiteX60" fmla="*/ 10977519 w 12192000"/>
              <a:gd name="connsiteY60" fmla="*/ 738965 h 6858000"/>
              <a:gd name="connsiteX61" fmla="*/ 10941697 w 12192000"/>
              <a:gd name="connsiteY61" fmla="*/ 746563 h 6858000"/>
              <a:gd name="connsiteX62" fmla="*/ 10941697 w 12192000"/>
              <a:gd name="connsiteY62" fmla="*/ 918617 h 6858000"/>
              <a:gd name="connsiteX63" fmla="*/ 10941697 w 12192000"/>
              <a:gd name="connsiteY63" fmla="*/ 924045 h 6858000"/>
              <a:gd name="connsiteX64" fmla="*/ 10962864 w 12192000"/>
              <a:gd name="connsiteY64" fmla="*/ 945212 h 6858000"/>
              <a:gd name="connsiteX65" fmla="*/ 10963407 w 12192000"/>
              <a:gd name="connsiteY65" fmla="*/ 945212 h 6858000"/>
              <a:gd name="connsiteX66" fmla="*/ 10989459 w 12192000"/>
              <a:gd name="connsiteY66" fmla="*/ 945212 h 6858000"/>
              <a:gd name="connsiteX67" fmla="*/ 10989459 w 12192000"/>
              <a:gd name="connsiteY67" fmla="*/ 779129 h 6858000"/>
              <a:gd name="connsiteX68" fmla="*/ 11004114 w 12192000"/>
              <a:gd name="connsiteY68" fmla="*/ 776958 h 6858000"/>
              <a:gd name="connsiteX69" fmla="*/ 11023110 w 12192000"/>
              <a:gd name="connsiteY69" fmla="*/ 775872 h 6858000"/>
              <a:gd name="connsiteX70" fmla="*/ 11043735 w 12192000"/>
              <a:gd name="connsiteY70" fmla="*/ 779129 h 6858000"/>
              <a:gd name="connsiteX71" fmla="*/ 11057303 w 12192000"/>
              <a:gd name="connsiteY71" fmla="*/ 789441 h 6858000"/>
              <a:gd name="connsiteX72" fmla="*/ 11064359 w 12192000"/>
              <a:gd name="connsiteY72" fmla="*/ 808437 h 6858000"/>
              <a:gd name="connsiteX73" fmla="*/ 11066530 w 12192000"/>
              <a:gd name="connsiteY73" fmla="*/ 836661 h 6858000"/>
              <a:gd name="connsiteX74" fmla="*/ 11066530 w 12192000"/>
              <a:gd name="connsiteY74" fmla="*/ 918074 h 6858000"/>
              <a:gd name="connsiteX75" fmla="*/ 11066530 w 12192000"/>
              <a:gd name="connsiteY75" fmla="*/ 923502 h 6858000"/>
              <a:gd name="connsiteX76" fmla="*/ 11087697 w 12192000"/>
              <a:gd name="connsiteY76" fmla="*/ 944669 h 6858000"/>
              <a:gd name="connsiteX77" fmla="*/ 11114293 w 12192000"/>
              <a:gd name="connsiteY77" fmla="*/ 944669 h 6858000"/>
              <a:gd name="connsiteX78" fmla="*/ 11114293 w 12192000"/>
              <a:gd name="connsiteY78" fmla="*/ 829605 h 6858000"/>
              <a:gd name="connsiteX79" fmla="*/ 11108865 w 12192000"/>
              <a:gd name="connsiteY79" fmla="*/ 791069 h 6858000"/>
              <a:gd name="connsiteX80" fmla="*/ 11094754 w 12192000"/>
              <a:gd name="connsiteY80" fmla="*/ 761218 h 6858000"/>
              <a:gd name="connsiteX81" fmla="*/ 11068158 w 12192000"/>
              <a:gd name="connsiteY81" fmla="*/ 742221 h 6858000"/>
              <a:gd name="connsiteX82" fmla="*/ 11026367 w 12192000"/>
              <a:gd name="connsiteY82" fmla="*/ 735166 h 6858000"/>
              <a:gd name="connsiteX83" fmla="*/ 11405208 w 12192000"/>
              <a:gd name="connsiteY83" fmla="*/ 732995 h 6858000"/>
              <a:gd name="connsiteX84" fmla="*/ 11369929 w 12192000"/>
              <a:gd name="connsiteY84" fmla="*/ 740050 h 6858000"/>
              <a:gd name="connsiteX85" fmla="*/ 11339535 w 12192000"/>
              <a:gd name="connsiteY85" fmla="*/ 760133 h 6858000"/>
              <a:gd name="connsiteX86" fmla="*/ 11318367 w 12192000"/>
              <a:gd name="connsiteY86" fmla="*/ 793783 h 6858000"/>
              <a:gd name="connsiteX87" fmla="*/ 11310226 w 12192000"/>
              <a:gd name="connsiteY87" fmla="*/ 841003 h 6858000"/>
              <a:gd name="connsiteX88" fmla="*/ 11316739 w 12192000"/>
              <a:gd name="connsiteY88" fmla="*/ 882252 h 6858000"/>
              <a:gd name="connsiteX89" fmla="*/ 11335735 w 12192000"/>
              <a:gd name="connsiteY89" fmla="*/ 915903 h 6858000"/>
              <a:gd name="connsiteX90" fmla="*/ 11368300 w 12192000"/>
              <a:gd name="connsiteY90" fmla="*/ 938156 h 6858000"/>
              <a:gd name="connsiteX91" fmla="*/ 11414977 w 12192000"/>
              <a:gd name="connsiteY91" fmla="*/ 946297 h 6858000"/>
              <a:gd name="connsiteX92" fmla="*/ 11435602 w 12192000"/>
              <a:gd name="connsiteY92" fmla="*/ 945212 h 6858000"/>
              <a:gd name="connsiteX93" fmla="*/ 11454598 w 12192000"/>
              <a:gd name="connsiteY93" fmla="*/ 942498 h 6858000"/>
              <a:gd name="connsiteX94" fmla="*/ 11470338 w 12192000"/>
              <a:gd name="connsiteY94" fmla="*/ 938699 h 6858000"/>
              <a:gd name="connsiteX95" fmla="*/ 11481193 w 12192000"/>
              <a:gd name="connsiteY95" fmla="*/ 934357 h 6858000"/>
              <a:gd name="connsiteX96" fmla="*/ 11477937 w 12192000"/>
              <a:gd name="connsiteY96" fmla="*/ 913190 h 6858000"/>
              <a:gd name="connsiteX97" fmla="*/ 11459483 w 12192000"/>
              <a:gd name="connsiteY97" fmla="*/ 900706 h 6858000"/>
              <a:gd name="connsiteX98" fmla="*/ 11452970 w 12192000"/>
              <a:gd name="connsiteY98" fmla="*/ 902334 h 6858000"/>
              <a:gd name="connsiteX99" fmla="*/ 11421490 w 12192000"/>
              <a:gd name="connsiteY99" fmla="*/ 905591 h 6858000"/>
              <a:gd name="connsiteX100" fmla="*/ 11376984 w 12192000"/>
              <a:gd name="connsiteY100" fmla="*/ 892022 h 6858000"/>
              <a:gd name="connsiteX101" fmla="*/ 11359617 w 12192000"/>
              <a:gd name="connsiteY101" fmla="*/ 854029 h 6858000"/>
              <a:gd name="connsiteX102" fmla="*/ 11493677 w 12192000"/>
              <a:gd name="connsiteY102" fmla="*/ 854029 h 6858000"/>
              <a:gd name="connsiteX103" fmla="*/ 11494219 w 12192000"/>
              <a:gd name="connsiteY103" fmla="*/ 845345 h 6858000"/>
              <a:gd name="connsiteX104" fmla="*/ 11494219 w 12192000"/>
              <a:gd name="connsiteY104" fmla="*/ 836661 h 6858000"/>
              <a:gd name="connsiteX105" fmla="*/ 11470881 w 12192000"/>
              <a:gd name="connsiteY105" fmla="*/ 759047 h 6858000"/>
              <a:gd name="connsiteX106" fmla="*/ 11405208 w 12192000"/>
              <a:gd name="connsiteY106" fmla="*/ 732995 h 6858000"/>
              <a:gd name="connsiteX107" fmla="*/ 11753113 w 12192000"/>
              <a:gd name="connsiteY107" fmla="*/ 676006 h 6858000"/>
              <a:gd name="connsiteX108" fmla="*/ 11726518 w 12192000"/>
              <a:gd name="connsiteY108" fmla="*/ 680348 h 6858000"/>
              <a:gd name="connsiteX109" fmla="*/ 11705894 w 12192000"/>
              <a:gd name="connsiteY109" fmla="*/ 704229 h 6858000"/>
              <a:gd name="connsiteX110" fmla="*/ 11705894 w 12192000"/>
              <a:gd name="connsiteY110" fmla="*/ 860543 h 6858000"/>
              <a:gd name="connsiteX111" fmla="*/ 11709150 w 12192000"/>
              <a:gd name="connsiteY111" fmla="*/ 896907 h 6858000"/>
              <a:gd name="connsiteX112" fmla="*/ 11721091 w 12192000"/>
              <a:gd name="connsiteY112" fmla="*/ 924045 h 6858000"/>
              <a:gd name="connsiteX113" fmla="*/ 11744429 w 12192000"/>
              <a:gd name="connsiteY113" fmla="*/ 940870 h 6858000"/>
              <a:gd name="connsiteX114" fmla="*/ 11780793 w 12192000"/>
              <a:gd name="connsiteY114" fmla="*/ 946840 h 6858000"/>
              <a:gd name="connsiteX115" fmla="*/ 11812273 w 12192000"/>
              <a:gd name="connsiteY115" fmla="*/ 943041 h 6858000"/>
              <a:gd name="connsiteX116" fmla="*/ 11818786 w 12192000"/>
              <a:gd name="connsiteY116" fmla="*/ 941413 h 6858000"/>
              <a:gd name="connsiteX117" fmla="*/ 11830726 w 12192000"/>
              <a:gd name="connsiteY117" fmla="*/ 921874 h 6858000"/>
              <a:gd name="connsiteX118" fmla="*/ 11825841 w 12192000"/>
              <a:gd name="connsiteY118" fmla="*/ 898535 h 6858000"/>
              <a:gd name="connsiteX119" fmla="*/ 11810102 w 12192000"/>
              <a:gd name="connsiteY119" fmla="*/ 903420 h 6858000"/>
              <a:gd name="connsiteX120" fmla="*/ 11787306 w 12192000"/>
              <a:gd name="connsiteY120" fmla="*/ 906134 h 6858000"/>
              <a:gd name="connsiteX121" fmla="*/ 11760711 w 12192000"/>
              <a:gd name="connsiteY121" fmla="*/ 895821 h 6858000"/>
              <a:gd name="connsiteX122" fmla="*/ 11753113 w 12192000"/>
              <a:gd name="connsiteY122" fmla="*/ 860543 h 6858000"/>
              <a:gd name="connsiteX123" fmla="*/ 11753113 w 12192000"/>
              <a:gd name="connsiteY123" fmla="*/ 777501 h 6858000"/>
              <a:gd name="connsiteX124" fmla="*/ 11804674 w 12192000"/>
              <a:gd name="connsiteY124" fmla="*/ 777501 h 6858000"/>
              <a:gd name="connsiteX125" fmla="*/ 11825841 w 12192000"/>
              <a:gd name="connsiteY125" fmla="*/ 756334 h 6858000"/>
              <a:gd name="connsiteX126" fmla="*/ 11825841 w 12192000"/>
              <a:gd name="connsiteY126" fmla="*/ 739508 h 6858000"/>
              <a:gd name="connsiteX127" fmla="*/ 11753113 w 12192000"/>
              <a:gd name="connsiteY127" fmla="*/ 739508 h 6858000"/>
              <a:gd name="connsiteX128" fmla="*/ 10315900 w 12192000"/>
              <a:gd name="connsiteY128" fmla="*/ 658094 h 6858000"/>
              <a:gd name="connsiteX129" fmla="*/ 10292562 w 12192000"/>
              <a:gd name="connsiteY129" fmla="*/ 684147 h 6858000"/>
              <a:gd name="connsiteX130" fmla="*/ 10315900 w 12192000"/>
              <a:gd name="connsiteY130" fmla="*/ 708028 h 6858000"/>
              <a:gd name="connsiteX131" fmla="*/ 10339238 w 12192000"/>
              <a:gd name="connsiteY131" fmla="*/ 681976 h 6858000"/>
              <a:gd name="connsiteX132" fmla="*/ 10315900 w 12192000"/>
              <a:gd name="connsiteY132" fmla="*/ 658094 h 6858000"/>
              <a:gd name="connsiteX133" fmla="*/ 10889050 w 12192000"/>
              <a:gd name="connsiteY133" fmla="*/ 651039 h 6858000"/>
              <a:gd name="connsiteX134" fmla="*/ 10868425 w 12192000"/>
              <a:gd name="connsiteY134" fmla="*/ 658637 h 6858000"/>
              <a:gd name="connsiteX135" fmla="*/ 10859741 w 12192000"/>
              <a:gd name="connsiteY135" fmla="*/ 680348 h 6858000"/>
              <a:gd name="connsiteX136" fmla="*/ 10868425 w 12192000"/>
              <a:gd name="connsiteY136" fmla="*/ 701515 h 6858000"/>
              <a:gd name="connsiteX137" fmla="*/ 10889050 w 12192000"/>
              <a:gd name="connsiteY137" fmla="*/ 709114 h 6858000"/>
              <a:gd name="connsiteX138" fmla="*/ 10909132 w 12192000"/>
              <a:gd name="connsiteY138" fmla="*/ 701515 h 6858000"/>
              <a:gd name="connsiteX139" fmla="*/ 10917816 w 12192000"/>
              <a:gd name="connsiteY139" fmla="*/ 680348 h 6858000"/>
              <a:gd name="connsiteX140" fmla="*/ 10909132 w 12192000"/>
              <a:gd name="connsiteY140" fmla="*/ 658637 h 6858000"/>
              <a:gd name="connsiteX141" fmla="*/ 10889050 w 12192000"/>
              <a:gd name="connsiteY141" fmla="*/ 651039 h 6858000"/>
              <a:gd name="connsiteX142" fmla="*/ 9964195 w 12192000"/>
              <a:gd name="connsiteY142" fmla="*/ 647783 h 6858000"/>
              <a:gd name="connsiteX143" fmla="*/ 9938686 w 12192000"/>
              <a:gd name="connsiteY143" fmla="*/ 674921 h 6858000"/>
              <a:gd name="connsiteX144" fmla="*/ 9964195 w 12192000"/>
              <a:gd name="connsiteY144" fmla="*/ 700431 h 6858000"/>
              <a:gd name="connsiteX145" fmla="*/ 9988077 w 12192000"/>
              <a:gd name="connsiteY145" fmla="*/ 673293 h 6858000"/>
              <a:gd name="connsiteX146" fmla="*/ 9964195 w 12192000"/>
              <a:gd name="connsiteY146" fmla="*/ 647783 h 6858000"/>
              <a:gd name="connsiteX147" fmla="*/ 8724004 w 12192000"/>
              <a:gd name="connsiteY147" fmla="*/ 623359 h 6858000"/>
              <a:gd name="connsiteX148" fmla="*/ 8576918 w 12192000"/>
              <a:gd name="connsiteY148" fmla="*/ 804096 h 6858000"/>
              <a:gd name="connsiteX149" fmla="*/ 8698495 w 12192000"/>
              <a:gd name="connsiteY149" fmla="*/ 962039 h 6858000"/>
              <a:gd name="connsiteX150" fmla="*/ 8815187 w 12192000"/>
              <a:gd name="connsiteY150" fmla="*/ 888766 h 6858000"/>
              <a:gd name="connsiteX151" fmla="*/ 8872176 w 12192000"/>
              <a:gd name="connsiteY151" fmla="*/ 947927 h 6858000"/>
              <a:gd name="connsiteX152" fmla="*/ 8941105 w 12192000"/>
              <a:gd name="connsiteY152" fmla="*/ 895822 h 6858000"/>
              <a:gd name="connsiteX153" fmla="*/ 8991582 w 12192000"/>
              <a:gd name="connsiteY153" fmla="*/ 947927 h 6858000"/>
              <a:gd name="connsiteX154" fmla="*/ 9036088 w 12192000"/>
              <a:gd name="connsiteY154" fmla="*/ 922960 h 6858000"/>
              <a:gd name="connsiteX155" fmla="*/ 9088192 w 12192000"/>
              <a:gd name="connsiteY155" fmla="*/ 1080902 h 6858000"/>
              <a:gd name="connsiteX156" fmla="*/ 9075708 w 12192000"/>
              <a:gd name="connsiteY156" fmla="*/ 948469 h 6858000"/>
              <a:gd name="connsiteX157" fmla="*/ 9125099 w 12192000"/>
              <a:gd name="connsiteY157" fmla="*/ 771531 h 6858000"/>
              <a:gd name="connsiteX158" fmla="*/ 9151694 w 12192000"/>
              <a:gd name="connsiteY158" fmla="*/ 824179 h 6858000"/>
              <a:gd name="connsiteX159" fmla="*/ 9146810 w 12192000"/>
              <a:gd name="connsiteY159" fmla="*/ 870313 h 6858000"/>
              <a:gd name="connsiteX160" fmla="*/ 9086021 w 12192000"/>
              <a:gd name="connsiteY160" fmla="*/ 930016 h 6858000"/>
              <a:gd name="connsiteX161" fmla="*/ 9109359 w 12192000"/>
              <a:gd name="connsiteY161" fmla="*/ 948469 h 6858000"/>
              <a:gd name="connsiteX162" fmla="*/ 9183717 w 12192000"/>
              <a:gd name="connsiteY162" fmla="*/ 875198 h 6858000"/>
              <a:gd name="connsiteX163" fmla="*/ 9228223 w 12192000"/>
              <a:gd name="connsiteY163" fmla="*/ 841547 h 6858000"/>
              <a:gd name="connsiteX164" fmla="*/ 9227680 w 12192000"/>
              <a:gd name="connsiteY164" fmla="*/ 856201 h 6858000"/>
              <a:gd name="connsiteX165" fmla="*/ 9281955 w 12192000"/>
              <a:gd name="connsiteY165" fmla="*/ 932730 h 6858000"/>
              <a:gd name="connsiteX166" fmla="*/ 9341658 w 12192000"/>
              <a:gd name="connsiteY166" fmla="*/ 886595 h 6858000"/>
              <a:gd name="connsiteX167" fmla="*/ 9343286 w 12192000"/>
              <a:gd name="connsiteY167" fmla="*/ 931101 h 6858000"/>
              <a:gd name="connsiteX168" fmla="*/ 9231479 w 12192000"/>
              <a:gd name="connsiteY168" fmla="*/ 1049422 h 6858000"/>
              <a:gd name="connsiteX169" fmla="*/ 9290639 w 12192000"/>
              <a:gd name="connsiteY169" fmla="*/ 1111839 h 6858000"/>
              <a:gd name="connsiteX170" fmla="*/ 9381822 w 12192000"/>
              <a:gd name="connsiteY170" fmla="*/ 943585 h 6858000"/>
              <a:gd name="connsiteX171" fmla="*/ 9444239 w 12192000"/>
              <a:gd name="connsiteY171" fmla="*/ 914819 h 6858000"/>
              <a:gd name="connsiteX172" fmla="*/ 9507741 w 12192000"/>
              <a:gd name="connsiteY172" fmla="*/ 947927 h 6858000"/>
              <a:gd name="connsiteX173" fmla="*/ 9605980 w 12192000"/>
              <a:gd name="connsiteY173" fmla="*/ 881168 h 6858000"/>
              <a:gd name="connsiteX174" fmla="*/ 9637459 w 12192000"/>
              <a:gd name="connsiteY174" fmla="*/ 947927 h 6858000"/>
              <a:gd name="connsiteX175" fmla="*/ 9701504 w 12192000"/>
              <a:gd name="connsiteY175" fmla="*/ 775331 h 6858000"/>
              <a:gd name="connsiteX176" fmla="*/ 9754694 w 12192000"/>
              <a:gd name="connsiteY176" fmla="*/ 962039 h 6858000"/>
              <a:gd name="connsiteX177" fmla="*/ 9825795 w 12192000"/>
              <a:gd name="connsiteY177" fmla="*/ 797583 h 6858000"/>
              <a:gd name="connsiteX178" fmla="*/ 9887669 w 12192000"/>
              <a:gd name="connsiteY178" fmla="*/ 947927 h 6858000"/>
              <a:gd name="connsiteX179" fmla="*/ 9947372 w 12192000"/>
              <a:gd name="connsiteY179" fmla="*/ 863257 h 6858000"/>
              <a:gd name="connsiteX180" fmla="*/ 10009788 w 12192000"/>
              <a:gd name="connsiteY180" fmla="*/ 947927 h 6858000"/>
              <a:gd name="connsiteX181" fmla="*/ 10065149 w 12192000"/>
              <a:gd name="connsiteY181" fmla="*/ 896365 h 6858000"/>
              <a:gd name="connsiteX182" fmla="*/ 10094458 w 12192000"/>
              <a:gd name="connsiteY182" fmla="*/ 947927 h 6858000"/>
              <a:gd name="connsiteX183" fmla="*/ 10170444 w 12192000"/>
              <a:gd name="connsiteY183" fmla="*/ 775873 h 6858000"/>
              <a:gd name="connsiteX184" fmla="*/ 10252399 w 12192000"/>
              <a:gd name="connsiteY184" fmla="*/ 947927 h 6858000"/>
              <a:gd name="connsiteX185" fmla="*/ 10305590 w 12192000"/>
              <a:gd name="connsiteY185" fmla="*/ 889852 h 6858000"/>
              <a:gd name="connsiteX186" fmla="*/ 10351724 w 12192000"/>
              <a:gd name="connsiteY186" fmla="*/ 947927 h 6858000"/>
              <a:gd name="connsiteX187" fmla="*/ 10378861 w 12192000"/>
              <a:gd name="connsiteY187" fmla="*/ 932730 h 6858000"/>
              <a:gd name="connsiteX188" fmla="*/ 10334898 w 12192000"/>
              <a:gd name="connsiteY188" fmla="*/ 782929 h 6858000"/>
              <a:gd name="connsiteX189" fmla="*/ 10316445 w 12192000"/>
              <a:gd name="connsiteY189" fmla="*/ 740051 h 6858000"/>
              <a:gd name="connsiteX190" fmla="*/ 10297991 w 12192000"/>
              <a:gd name="connsiteY190" fmla="*/ 743851 h 6858000"/>
              <a:gd name="connsiteX191" fmla="*/ 10259998 w 12192000"/>
              <a:gd name="connsiteY191" fmla="*/ 908305 h 6858000"/>
              <a:gd name="connsiteX192" fmla="*/ 10177499 w 12192000"/>
              <a:gd name="connsiteY192" fmla="*/ 721055 h 6858000"/>
              <a:gd name="connsiteX193" fmla="*/ 10099886 w 12192000"/>
              <a:gd name="connsiteY193" fmla="*/ 870313 h 6858000"/>
              <a:gd name="connsiteX194" fmla="*/ 10094458 w 12192000"/>
              <a:gd name="connsiteY194" fmla="*/ 801383 h 6858000"/>
              <a:gd name="connsiteX195" fmla="*/ 10098257 w 12192000"/>
              <a:gd name="connsiteY195" fmla="*/ 764475 h 6858000"/>
              <a:gd name="connsiteX196" fmla="*/ 10060807 w 12192000"/>
              <a:gd name="connsiteY196" fmla="*/ 738423 h 6858000"/>
              <a:gd name="connsiteX197" fmla="*/ 10016302 w 12192000"/>
              <a:gd name="connsiteY197" fmla="*/ 909934 h 6858000"/>
              <a:gd name="connsiteX198" fmla="*/ 9980480 w 12192000"/>
              <a:gd name="connsiteY198" fmla="*/ 786186 h 6858000"/>
              <a:gd name="connsiteX199" fmla="*/ 9943572 w 12192000"/>
              <a:gd name="connsiteY199" fmla="*/ 737880 h 6858000"/>
              <a:gd name="connsiteX200" fmla="*/ 9897981 w 12192000"/>
              <a:gd name="connsiteY200" fmla="*/ 901250 h 6858000"/>
              <a:gd name="connsiteX201" fmla="*/ 9830137 w 12192000"/>
              <a:gd name="connsiteY201" fmla="*/ 740051 h 6858000"/>
              <a:gd name="connsiteX202" fmla="*/ 9762293 w 12192000"/>
              <a:gd name="connsiteY202" fmla="*/ 892566 h 6858000"/>
              <a:gd name="connsiteX203" fmla="*/ 9703132 w 12192000"/>
              <a:gd name="connsiteY203" fmla="*/ 721055 h 6858000"/>
              <a:gd name="connsiteX204" fmla="*/ 9642887 w 12192000"/>
              <a:gd name="connsiteY204" fmla="*/ 842632 h 6858000"/>
              <a:gd name="connsiteX205" fmla="*/ 9636916 w 12192000"/>
              <a:gd name="connsiteY205" fmla="*/ 841547 h 6858000"/>
              <a:gd name="connsiteX206" fmla="*/ 9636374 w 12192000"/>
              <a:gd name="connsiteY206" fmla="*/ 805725 h 6858000"/>
              <a:gd name="connsiteX207" fmla="*/ 9602723 w 12192000"/>
              <a:gd name="connsiteY207" fmla="*/ 734624 h 6858000"/>
              <a:gd name="connsiteX208" fmla="*/ 9515882 w 12192000"/>
              <a:gd name="connsiteY208" fmla="*/ 911562 h 6858000"/>
              <a:gd name="connsiteX209" fmla="*/ 9480061 w 12192000"/>
              <a:gd name="connsiteY209" fmla="*/ 894737 h 6858000"/>
              <a:gd name="connsiteX210" fmla="*/ 9552790 w 12192000"/>
              <a:gd name="connsiteY210" fmla="*/ 793784 h 6858000"/>
              <a:gd name="connsiteX211" fmla="*/ 9495800 w 12192000"/>
              <a:gd name="connsiteY211" fmla="*/ 734624 h 6858000"/>
              <a:gd name="connsiteX212" fmla="*/ 9418187 w 12192000"/>
              <a:gd name="connsiteY212" fmla="*/ 829606 h 6858000"/>
              <a:gd name="connsiteX213" fmla="*/ 9429584 w 12192000"/>
              <a:gd name="connsiteY213" fmla="*/ 889309 h 6858000"/>
              <a:gd name="connsiteX214" fmla="*/ 9381279 w 12192000"/>
              <a:gd name="connsiteY214" fmla="*/ 911562 h 6858000"/>
              <a:gd name="connsiteX215" fmla="*/ 9370967 w 12192000"/>
              <a:gd name="connsiteY215" fmla="*/ 775873 h 6858000"/>
              <a:gd name="connsiteX216" fmla="*/ 9334602 w 12192000"/>
              <a:gd name="connsiteY216" fmla="*/ 805182 h 6858000"/>
              <a:gd name="connsiteX217" fmla="*/ 9292268 w 12192000"/>
              <a:gd name="connsiteY217" fmla="*/ 892566 h 6858000"/>
              <a:gd name="connsiteX218" fmla="*/ 9270014 w 12192000"/>
              <a:gd name="connsiteY218" fmla="*/ 859457 h 6858000"/>
              <a:gd name="connsiteX219" fmla="*/ 9372052 w 12192000"/>
              <a:gd name="connsiteY219" fmla="*/ 761761 h 6858000"/>
              <a:gd name="connsiteX220" fmla="*/ 9338401 w 12192000"/>
              <a:gd name="connsiteY220" fmla="*/ 729196 h 6858000"/>
              <a:gd name="connsiteX221" fmla="*/ 9246133 w 12192000"/>
              <a:gd name="connsiteY221" fmla="*/ 785100 h 6858000"/>
              <a:gd name="connsiteX222" fmla="*/ 9191858 w 12192000"/>
              <a:gd name="connsiteY222" fmla="*/ 838833 h 6858000"/>
              <a:gd name="connsiteX223" fmla="*/ 9192943 w 12192000"/>
              <a:gd name="connsiteY223" fmla="*/ 823636 h 6858000"/>
              <a:gd name="connsiteX224" fmla="*/ 9128356 w 12192000"/>
              <a:gd name="connsiteY224" fmla="*/ 735709 h 6858000"/>
              <a:gd name="connsiteX225" fmla="*/ 9076252 w 12192000"/>
              <a:gd name="connsiteY225" fmla="*/ 775331 h 6858000"/>
              <a:gd name="connsiteX226" fmla="*/ 9055084 w 12192000"/>
              <a:gd name="connsiteY226" fmla="*/ 741137 h 6858000"/>
              <a:gd name="connsiteX227" fmla="*/ 9031746 w 12192000"/>
              <a:gd name="connsiteY227" fmla="*/ 747107 h 6858000"/>
              <a:gd name="connsiteX228" fmla="*/ 9037173 w 12192000"/>
              <a:gd name="connsiteY228" fmla="*/ 810067 h 6858000"/>
              <a:gd name="connsiteX229" fmla="*/ 8995924 w 12192000"/>
              <a:gd name="connsiteY229" fmla="*/ 915904 h 6858000"/>
              <a:gd name="connsiteX230" fmla="*/ 8967158 w 12192000"/>
              <a:gd name="connsiteY230" fmla="*/ 795412 h 6858000"/>
              <a:gd name="connsiteX231" fmla="*/ 8955760 w 12192000"/>
              <a:gd name="connsiteY231" fmla="*/ 793241 h 6858000"/>
              <a:gd name="connsiteX232" fmla="*/ 8926994 w 12192000"/>
              <a:gd name="connsiteY232" fmla="*/ 846974 h 6858000"/>
              <a:gd name="connsiteX233" fmla="*/ 8880317 w 12192000"/>
              <a:gd name="connsiteY233" fmla="*/ 911562 h 6858000"/>
              <a:gd name="connsiteX234" fmla="*/ 8855350 w 12192000"/>
              <a:gd name="connsiteY234" fmla="*/ 871941 h 6858000"/>
              <a:gd name="connsiteX235" fmla="*/ 8963359 w 12192000"/>
              <a:gd name="connsiteY235" fmla="*/ 778044 h 6858000"/>
              <a:gd name="connsiteX236" fmla="*/ 8930250 w 12192000"/>
              <a:gd name="connsiteY236" fmla="*/ 741680 h 6858000"/>
              <a:gd name="connsiteX237" fmla="*/ 8822243 w 12192000"/>
              <a:gd name="connsiteY237" fmla="*/ 822008 h 6858000"/>
              <a:gd name="connsiteX238" fmla="*/ 8708264 w 12192000"/>
              <a:gd name="connsiteY238" fmla="*/ 920789 h 6858000"/>
              <a:gd name="connsiteX239" fmla="*/ 8628479 w 12192000"/>
              <a:gd name="connsiteY239" fmla="*/ 798126 h 6858000"/>
              <a:gd name="connsiteX240" fmla="*/ 8721833 w 12192000"/>
              <a:gd name="connsiteY240" fmla="*/ 658638 h 6858000"/>
              <a:gd name="connsiteX241" fmla="*/ 8760369 w 12192000"/>
              <a:gd name="connsiteY241" fmla="*/ 722683 h 6858000"/>
              <a:gd name="connsiteX242" fmla="*/ 8806502 w 12192000"/>
              <a:gd name="connsiteY242" fmla="*/ 688490 h 6858000"/>
              <a:gd name="connsiteX243" fmla="*/ 8724004 w 12192000"/>
              <a:gd name="connsiteY243" fmla="*/ 623359 h 6858000"/>
              <a:gd name="connsiteX244" fmla="*/ 10614417 w 12192000"/>
              <a:gd name="connsiteY244" fmla="*/ 616845 h 6858000"/>
              <a:gd name="connsiteX245" fmla="*/ 10406543 w 12192000"/>
              <a:gd name="connsiteY245" fmla="*/ 831233 h 6858000"/>
              <a:gd name="connsiteX246" fmla="*/ 10478186 w 12192000"/>
              <a:gd name="connsiteY246" fmla="*/ 937071 h 6858000"/>
              <a:gd name="connsiteX247" fmla="*/ 10552001 w 12192000"/>
              <a:gd name="connsiteY247" fmla="*/ 938699 h 6858000"/>
              <a:gd name="connsiteX248" fmla="*/ 10582056 w 12192000"/>
              <a:gd name="connsiteY248" fmla="*/ 923637 h 6858000"/>
              <a:gd name="connsiteX249" fmla="*/ 10605742 w 12192000"/>
              <a:gd name="connsiteY249" fmla="*/ 902222 h 6858000"/>
              <a:gd name="connsiteX250" fmla="*/ 10584429 w 12192000"/>
              <a:gd name="connsiteY250" fmla="*/ 941210 h 6858000"/>
              <a:gd name="connsiteX251" fmla="*/ 10538973 w 12192000"/>
              <a:gd name="connsiteY251" fmla="*/ 962039 h 6858000"/>
              <a:gd name="connsiteX252" fmla="*/ 10589992 w 12192000"/>
              <a:gd name="connsiteY252" fmla="*/ 976150 h 6858000"/>
              <a:gd name="connsiteX253" fmla="*/ 10709398 w 12192000"/>
              <a:gd name="connsiteY253" fmla="*/ 937072 h 6858000"/>
              <a:gd name="connsiteX254" fmla="*/ 10649152 w 12192000"/>
              <a:gd name="connsiteY254" fmla="*/ 883339 h 6858000"/>
              <a:gd name="connsiteX255" fmla="*/ 10708312 w 12192000"/>
              <a:gd name="connsiteY255" fmla="*/ 912648 h 6858000"/>
              <a:gd name="connsiteX256" fmla="*/ 10795153 w 12192000"/>
              <a:gd name="connsiteY256" fmla="*/ 826350 h 6858000"/>
              <a:gd name="connsiteX257" fmla="*/ 10795631 w 12192000"/>
              <a:gd name="connsiteY257" fmla="*/ 825891 h 6858000"/>
              <a:gd name="connsiteX258" fmla="*/ 10795697 w 12192000"/>
              <a:gd name="connsiteY258" fmla="*/ 826349 h 6858000"/>
              <a:gd name="connsiteX259" fmla="*/ 10801382 w 12192000"/>
              <a:gd name="connsiteY259" fmla="*/ 820371 h 6858000"/>
              <a:gd name="connsiteX260" fmla="*/ 10795631 w 12192000"/>
              <a:gd name="connsiteY260" fmla="*/ 825891 h 6858000"/>
              <a:gd name="connsiteX261" fmla="*/ 10795154 w 12192000"/>
              <a:gd name="connsiteY261" fmla="*/ 822549 h 6858000"/>
              <a:gd name="connsiteX262" fmla="*/ 10727853 w 12192000"/>
              <a:gd name="connsiteY262" fmla="*/ 685232 h 6858000"/>
              <a:gd name="connsiteX263" fmla="*/ 10623644 w 12192000"/>
              <a:gd name="connsiteY263" fmla="*/ 620644 h 6858000"/>
              <a:gd name="connsiteX264" fmla="*/ 10614417 w 12192000"/>
              <a:gd name="connsiteY264" fmla="*/ 616845 h 6858000"/>
              <a:gd name="connsiteX265" fmla="*/ 0 w 12192000"/>
              <a:gd name="connsiteY265" fmla="*/ 0 h 6858000"/>
              <a:gd name="connsiteX266" fmla="*/ 12192000 w 12192000"/>
              <a:gd name="connsiteY266" fmla="*/ 0 h 6858000"/>
              <a:gd name="connsiteX267" fmla="*/ 12192000 w 12192000"/>
              <a:gd name="connsiteY267" fmla="*/ 6858000 h 6858000"/>
              <a:gd name="connsiteX268" fmla="*/ 0 w 12192000"/>
              <a:gd name="connsiteY26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12192000" h="6858000">
                <a:moveTo>
                  <a:pt x="9343829" y="959868"/>
                </a:moveTo>
                <a:cubicBezTo>
                  <a:pt x="9341658" y="1057021"/>
                  <a:pt x="9319405" y="1078731"/>
                  <a:pt x="9294981" y="1078731"/>
                </a:cubicBezTo>
                <a:cubicBezTo>
                  <a:pt x="9279784" y="1078731"/>
                  <a:pt x="9271643" y="1064077"/>
                  <a:pt x="9271643" y="1047794"/>
                </a:cubicBezTo>
                <a:cubicBezTo>
                  <a:pt x="9271643" y="1003831"/>
                  <a:pt x="9304208" y="979949"/>
                  <a:pt x="9343829" y="959868"/>
                </a:cubicBezTo>
                <a:close/>
                <a:moveTo>
                  <a:pt x="11404665" y="772073"/>
                </a:moveTo>
                <a:cubicBezTo>
                  <a:pt x="11411721" y="772073"/>
                  <a:pt x="11417691" y="773159"/>
                  <a:pt x="11422576" y="775872"/>
                </a:cubicBezTo>
                <a:cubicBezTo>
                  <a:pt x="11428003" y="778586"/>
                  <a:pt x="11432345" y="781843"/>
                  <a:pt x="11435602" y="786185"/>
                </a:cubicBezTo>
                <a:cubicBezTo>
                  <a:pt x="11439401" y="790527"/>
                  <a:pt x="11442115" y="795411"/>
                  <a:pt x="11443743" y="801382"/>
                </a:cubicBezTo>
                <a:cubicBezTo>
                  <a:pt x="11445371" y="807352"/>
                  <a:pt x="11446457" y="813323"/>
                  <a:pt x="11446457" y="819836"/>
                </a:cubicBezTo>
                <a:lnTo>
                  <a:pt x="11359074" y="819836"/>
                </a:lnTo>
                <a:cubicBezTo>
                  <a:pt x="11360159" y="813865"/>
                  <a:pt x="11361245" y="808438"/>
                  <a:pt x="11363416" y="802467"/>
                </a:cubicBezTo>
                <a:cubicBezTo>
                  <a:pt x="11365587" y="796497"/>
                  <a:pt x="11368843" y="791612"/>
                  <a:pt x="11372100" y="787270"/>
                </a:cubicBezTo>
                <a:cubicBezTo>
                  <a:pt x="11375356" y="782928"/>
                  <a:pt x="11380241" y="779129"/>
                  <a:pt x="11385668" y="776415"/>
                </a:cubicBezTo>
                <a:cubicBezTo>
                  <a:pt x="11391096" y="773701"/>
                  <a:pt x="11397610" y="772073"/>
                  <a:pt x="11404665" y="772073"/>
                </a:cubicBezTo>
                <a:close/>
                <a:moveTo>
                  <a:pt x="9493087" y="766103"/>
                </a:moveTo>
                <a:cubicBezTo>
                  <a:pt x="9507741" y="766103"/>
                  <a:pt x="9516425" y="779673"/>
                  <a:pt x="9514797" y="799212"/>
                </a:cubicBezTo>
                <a:cubicBezTo>
                  <a:pt x="9513168" y="822008"/>
                  <a:pt x="9496343" y="848602"/>
                  <a:pt x="9467034" y="869227"/>
                </a:cubicBezTo>
                <a:cubicBezTo>
                  <a:pt x="9452380" y="825807"/>
                  <a:pt x="9463778" y="766103"/>
                  <a:pt x="9493087" y="766103"/>
                </a:cubicBezTo>
                <a:close/>
                <a:moveTo>
                  <a:pt x="11119177" y="740594"/>
                </a:moveTo>
                <a:lnTo>
                  <a:pt x="11189735" y="924046"/>
                </a:lnTo>
                <a:cubicBezTo>
                  <a:pt x="11196248" y="937614"/>
                  <a:pt x="11200590" y="944670"/>
                  <a:pt x="11213074" y="944670"/>
                </a:cubicBezTo>
                <a:lnTo>
                  <a:pt x="11236955" y="944670"/>
                </a:lnTo>
                <a:lnTo>
                  <a:pt x="11314569" y="740594"/>
                </a:lnTo>
                <a:lnTo>
                  <a:pt x="11278747" y="740594"/>
                </a:lnTo>
                <a:cubicBezTo>
                  <a:pt x="11266264" y="740594"/>
                  <a:pt x="11263007" y="747107"/>
                  <a:pt x="11257580" y="761219"/>
                </a:cubicBezTo>
                <a:lnTo>
                  <a:pt x="11217416" y="876825"/>
                </a:lnTo>
                <a:lnTo>
                  <a:pt x="11175624" y="763390"/>
                </a:lnTo>
                <a:cubicBezTo>
                  <a:pt x="11170738" y="748735"/>
                  <a:pt x="11166396" y="740594"/>
                  <a:pt x="11153913" y="740594"/>
                </a:cubicBezTo>
                <a:lnTo>
                  <a:pt x="11130575" y="740594"/>
                </a:lnTo>
                <a:close/>
                <a:moveTo>
                  <a:pt x="10865711" y="740051"/>
                </a:moveTo>
                <a:lnTo>
                  <a:pt x="10865711" y="910476"/>
                </a:lnTo>
                <a:cubicBezTo>
                  <a:pt x="10865711" y="929473"/>
                  <a:pt x="10880908" y="944670"/>
                  <a:pt x="10899904" y="944670"/>
                </a:cubicBezTo>
                <a:lnTo>
                  <a:pt x="10912930" y="944670"/>
                </a:lnTo>
                <a:lnTo>
                  <a:pt x="10912930" y="771531"/>
                </a:lnTo>
                <a:cubicBezTo>
                  <a:pt x="10912930" y="754163"/>
                  <a:pt x="10899361" y="740051"/>
                  <a:pt x="10881993" y="740051"/>
                </a:cubicBezTo>
                <a:close/>
                <a:moveTo>
                  <a:pt x="11599515" y="735166"/>
                </a:moveTo>
                <a:cubicBezTo>
                  <a:pt x="11581603" y="735166"/>
                  <a:pt x="11565321" y="736251"/>
                  <a:pt x="11550667" y="738965"/>
                </a:cubicBezTo>
                <a:cubicBezTo>
                  <a:pt x="11536012" y="741136"/>
                  <a:pt x="11524071" y="743850"/>
                  <a:pt x="11514845" y="746563"/>
                </a:cubicBezTo>
                <a:lnTo>
                  <a:pt x="11514845" y="918617"/>
                </a:lnTo>
                <a:lnTo>
                  <a:pt x="11514845" y="924045"/>
                </a:lnTo>
                <a:cubicBezTo>
                  <a:pt x="11514845" y="935442"/>
                  <a:pt x="11524071" y="945212"/>
                  <a:pt x="11536012" y="945212"/>
                </a:cubicBezTo>
                <a:lnTo>
                  <a:pt x="11536555" y="945212"/>
                </a:lnTo>
                <a:lnTo>
                  <a:pt x="11562607" y="945212"/>
                </a:lnTo>
                <a:lnTo>
                  <a:pt x="11562607" y="779129"/>
                </a:lnTo>
                <a:cubicBezTo>
                  <a:pt x="11565864" y="778586"/>
                  <a:pt x="11570748" y="778043"/>
                  <a:pt x="11577261" y="776958"/>
                </a:cubicBezTo>
                <a:cubicBezTo>
                  <a:pt x="11583774" y="776415"/>
                  <a:pt x="11590287" y="775872"/>
                  <a:pt x="11596258" y="775872"/>
                </a:cubicBezTo>
                <a:cubicBezTo>
                  <a:pt x="11604399" y="775872"/>
                  <a:pt x="11611455" y="776958"/>
                  <a:pt x="11616883" y="779129"/>
                </a:cubicBezTo>
                <a:cubicBezTo>
                  <a:pt x="11622310" y="781300"/>
                  <a:pt x="11627195" y="785099"/>
                  <a:pt x="11630451" y="789441"/>
                </a:cubicBezTo>
                <a:cubicBezTo>
                  <a:pt x="11633708" y="794326"/>
                  <a:pt x="11635879" y="800296"/>
                  <a:pt x="11637507" y="808437"/>
                </a:cubicBezTo>
                <a:cubicBezTo>
                  <a:pt x="11639135" y="816036"/>
                  <a:pt x="11639678" y="825263"/>
                  <a:pt x="11639678" y="836661"/>
                </a:cubicBezTo>
                <a:lnTo>
                  <a:pt x="11639678" y="918074"/>
                </a:lnTo>
                <a:lnTo>
                  <a:pt x="11639678" y="923502"/>
                </a:lnTo>
                <a:cubicBezTo>
                  <a:pt x="11639678" y="934900"/>
                  <a:pt x="11648905" y="944669"/>
                  <a:pt x="11660845" y="944669"/>
                </a:cubicBezTo>
                <a:lnTo>
                  <a:pt x="11687441" y="944669"/>
                </a:lnTo>
                <a:lnTo>
                  <a:pt x="11687441" y="829605"/>
                </a:lnTo>
                <a:cubicBezTo>
                  <a:pt x="11685812" y="815494"/>
                  <a:pt x="11684727" y="803010"/>
                  <a:pt x="11682013" y="791069"/>
                </a:cubicBezTo>
                <a:cubicBezTo>
                  <a:pt x="11679299" y="779672"/>
                  <a:pt x="11674415" y="769359"/>
                  <a:pt x="11667902" y="761218"/>
                </a:cubicBezTo>
                <a:cubicBezTo>
                  <a:pt x="11661389" y="753076"/>
                  <a:pt x="11652161" y="746563"/>
                  <a:pt x="11641306" y="742221"/>
                </a:cubicBezTo>
                <a:cubicBezTo>
                  <a:pt x="11629909" y="737879"/>
                  <a:pt x="11616340" y="735166"/>
                  <a:pt x="11599515" y="735166"/>
                </a:cubicBezTo>
                <a:close/>
                <a:moveTo>
                  <a:pt x="11026367" y="735166"/>
                </a:moveTo>
                <a:cubicBezTo>
                  <a:pt x="11008455" y="735166"/>
                  <a:pt x="10992173" y="736251"/>
                  <a:pt x="10977519" y="738965"/>
                </a:cubicBezTo>
                <a:cubicBezTo>
                  <a:pt x="10962864" y="741136"/>
                  <a:pt x="10950923" y="743850"/>
                  <a:pt x="10941697" y="746563"/>
                </a:cubicBezTo>
                <a:lnTo>
                  <a:pt x="10941697" y="918617"/>
                </a:lnTo>
                <a:lnTo>
                  <a:pt x="10941697" y="924045"/>
                </a:lnTo>
                <a:cubicBezTo>
                  <a:pt x="10941697" y="935442"/>
                  <a:pt x="10950923" y="945212"/>
                  <a:pt x="10962864" y="945212"/>
                </a:cubicBezTo>
                <a:lnTo>
                  <a:pt x="10963407" y="945212"/>
                </a:lnTo>
                <a:lnTo>
                  <a:pt x="10989459" y="945212"/>
                </a:lnTo>
                <a:lnTo>
                  <a:pt x="10989459" y="779129"/>
                </a:lnTo>
                <a:cubicBezTo>
                  <a:pt x="10992716" y="778586"/>
                  <a:pt x="10997600" y="778043"/>
                  <a:pt x="11004114" y="776958"/>
                </a:cubicBezTo>
                <a:cubicBezTo>
                  <a:pt x="11010626" y="776415"/>
                  <a:pt x="11017139" y="775872"/>
                  <a:pt x="11023110" y="775872"/>
                </a:cubicBezTo>
                <a:cubicBezTo>
                  <a:pt x="11031252" y="775872"/>
                  <a:pt x="11038307" y="776958"/>
                  <a:pt x="11043735" y="779129"/>
                </a:cubicBezTo>
                <a:cubicBezTo>
                  <a:pt x="11049162" y="781300"/>
                  <a:pt x="11054047" y="785099"/>
                  <a:pt x="11057303" y="789441"/>
                </a:cubicBezTo>
                <a:cubicBezTo>
                  <a:pt x="11060560" y="794326"/>
                  <a:pt x="11062731" y="800296"/>
                  <a:pt x="11064359" y="808437"/>
                </a:cubicBezTo>
                <a:cubicBezTo>
                  <a:pt x="11065987" y="816036"/>
                  <a:pt x="11066530" y="825263"/>
                  <a:pt x="11066530" y="836661"/>
                </a:cubicBezTo>
                <a:lnTo>
                  <a:pt x="11066530" y="918074"/>
                </a:lnTo>
                <a:lnTo>
                  <a:pt x="11066530" y="923502"/>
                </a:lnTo>
                <a:cubicBezTo>
                  <a:pt x="11066530" y="934900"/>
                  <a:pt x="11075757" y="944669"/>
                  <a:pt x="11087697" y="944669"/>
                </a:cubicBezTo>
                <a:lnTo>
                  <a:pt x="11114293" y="944669"/>
                </a:lnTo>
                <a:lnTo>
                  <a:pt x="11114293" y="829605"/>
                </a:lnTo>
                <a:cubicBezTo>
                  <a:pt x="11113207" y="815494"/>
                  <a:pt x="11111579" y="803010"/>
                  <a:pt x="11108865" y="791069"/>
                </a:cubicBezTo>
                <a:cubicBezTo>
                  <a:pt x="11106151" y="779672"/>
                  <a:pt x="11101267" y="769359"/>
                  <a:pt x="11094754" y="761218"/>
                </a:cubicBezTo>
                <a:cubicBezTo>
                  <a:pt x="11088241" y="753076"/>
                  <a:pt x="11079013" y="746563"/>
                  <a:pt x="11068158" y="742221"/>
                </a:cubicBezTo>
                <a:cubicBezTo>
                  <a:pt x="11056761" y="737879"/>
                  <a:pt x="11043192" y="735166"/>
                  <a:pt x="11026367" y="735166"/>
                </a:cubicBezTo>
                <a:close/>
                <a:moveTo>
                  <a:pt x="11405208" y="732995"/>
                </a:moveTo>
                <a:cubicBezTo>
                  <a:pt x="11393267" y="732995"/>
                  <a:pt x="11381327" y="735708"/>
                  <a:pt x="11369929" y="740050"/>
                </a:cubicBezTo>
                <a:cubicBezTo>
                  <a:pt x="11358531" y="744392"/>
                  <a:pt x="11348219" y="750905"/>
                  <a:pt x="11339535" y="760133"/>
                </a:cubicBezTo>
                <a:cubicBezTo>
                  <a:pt x="11330850" y="768817"/>
                  <a:pt x="11323794" y="780214"/>
                  <a:pt x="11318367" y="793783"/>
                </a:cubicBezTo>
                <a:cubicBezTo>
                  <a:pt x="11312939" y="807352"/>
                  <a:pt x="11310226" y="823092"/>
                  <a:pt x="11310226" y="841003"/>
                </a:cubicBezTo>
                <a:cubicBezTo>
                  <a:pt x="11310226" y="856200"/>
                  <a:pt x="11312397" y="870312"/>
                  <a:pt x="11316739" y="882252"/>
                </a:cubicBezTo>
                <a:cubicBezTo>
                  <a:pt x="11321081" y="895278"/>
                  <a:pt x="11327051" y="906676"/>
                  <a:pt x="11335735" y="915903"/>
                </a:cubicBezTo>
                <a:cubicBezTo>
                  <a:pt x="11344419" y="925673"/>
                  <a:pt x="11355274" y="932729"/>
                  <a:pt x="11368300" y="938156"/>
                </a:cubicBezTo>
                <a:cubicBezTo>
                  <a:pt x="11381327" y="943584"/>
                  <a:pt x="11397066" y="946297"/>
                  <a:pt x="11414977" y="946297"/>
                </a:cubicBezTo>
                <a:cubicBezTo>
                  <a:pt x="11422033" y="946297"/>
                  <a:pt x="11428546" y="945755"/>
                  <a:pt x="11435602" y="945212"/>
                </a:cubicBezTo>
                <a:cubicBezTo>
                  <a:pt x="11442658" y="944669"/>
                  <a:pt x="11448628" y="943584"/>
                  <a:pt x="11454598" y="942498"/>
                </a:cubicBezTo>
                <a:cubicBezTo>
                  <a:pt x="11460568" y="941413"/>
                  <a:pt x="11465996" y="940327"/>
                  <a:pt x="11470338" y="938699"/>
                </a:cubicBezTo>
                <a:cubicBezTo>
                  <a:pt x="11475223" y="937071"/>
                  <a:pt x="11478480" y="935442"/>
                  <a:pt x="11481193" y="934357"/>
                </a:cubicBezTo>
                <a:lnTo>
                  <a:pt x="11477937" y="913190"/>
                </a:lnTo>
                <a:cubicBezTo>
                  <a:pt x="11476309" y="904505"/>
                  <a:pt x="11468168" y="898535"/>
                  <a:pt x="11459483" y="900706"/>
                </a:cubicBezTo>
                <a:cubicBezTo>
                  <a:pt x="11457855" y="901249"/>
                  <a:pt x="11455141" y="901791"/>
                  <a:pt x="11452970" y="902334"/>
                </a:cubicBezTo>
                <a:cubicBezTo>
                  <a:pt x="11443200" y="904505"/>
                  <a:pt x="11432888" y="905591"/>
                  <a:pt x="11421490" y="905591"/>
                </a:cubicBezTo>
                <a:cubicBezTo>
                  <a:pt x="11401951" y="905591"/>
                  <a:pt x="11387297" y="900706"/>
                  <a:pt x="11376984" y="892022"/>
                </a:cubicBezTo>
                <a:cubicBezTo>
                  <a:pt x="11366672" y="882795"/>
                  <a:pt x="11360702" y="870312"/>
                  <a:pt x="11359617" y="854029"/>
                </a:cubicBezTo>
                <a:lnTo>
                  <a:pt x="11493677" y="854029"/>
                </a:lnTo>
                <a:cubicBezTo>
                  <a:pt x="11493677" y="851315"/>
                  <a:pt x="11494219" y="848601"/>
                  <a:pt x="11494219" y="845345"/>
                </a:cubicBezTo>
                <a:lnTo>
                  <a:pt x="11494219" y="836661"/>
                </a:lnTo>
                <a:cubicBezTo>
                  <a:pt x="11494219" y="802467"/>
                  <a:pt x="11486621" y="776415"/>
                  <a:pt x="11470881" y="759047"/>
                </a:cubicBezTo>
                <a:cubicBezTo>
                  <a:pt x="11455141" y="741679"/>
                  <a:pt x="11433431" y="732995"/>
                  <a:pt x="11405208" y="732995"/>
                </a:cubicBezTo>
                <a:close/>
                <a:moveTo>
                  <a:pt x="11753113" y="676006"/>
                </a:moveTo>
                <a:lnTo>
                  <a:pt x="11726518" y="680348"/>
                </a:lnTo>
                <a:cubicBezTo>
                  <a:pt x="11714578" y="682519"/>
                  <a:pt x="11705894" y="692831"/>
                  <a:pt x="11705894" y="704229"/>
                </a:cubicBezTo>
                <a:lnTo>
                  <a:pt x="11705894" y="860543"/>
                </a:lnTo>
                <a:cubicBezTo>
                  <a:pt x="11705894" y="874111"/>
                  <a:pt x="11706979" y="886595"/>
                  <a:pt x="11709150" y="896907"/>
                </a:cubicBezTo>
                <a:cubicBezTo>
                  <a:pt x="11711321" y="907762"/>
                  <a:pt x="11715120" y="916446"/>
                  <a:pt x="11721091" y="924045"/>
                </a:cubicBezTo>
                <a:cubicBezTo>
                  <a:pt x="11727061" y="931101"/>
                  <a:pt x="11734659" y="937071"/>
                  <a:pt x="11744429" y="940870"/>
                </a:cubicBezTo>
                <a:cubicBezTo>
                  <a:pt x="11754198" y="944669"/>
                  <a:pt x="11766139" y="946840"/>
                  <a:pt x="11780793" y="946840"/>
                </a:cubicBezTo>
                <a:cubicBezTo>
                  <a:pt x="11792734" y="946840"/>
                  <a:pt x="11803589" y="945755"/>
                  <a:pt x="11812273" y="943041"/>
                </a:cubicBezTo>
                <a:lnTo>
                  <a:pt x="11818786" y="941413"/>
                </a:lnTo>
                <a:cubicBezTo>
                  <a:pt x="11827469" y="939242"/>
                  <a:pt x="11832354" y="930558"/>
                  <a:pt x="11830726" y="921874"/>
                </a:cubicBezTo>
                <a:lnTo>
                  <a:pt x="11825841" y="898535"/>
                </a:lnTo>
                <a:cubicBezTo>
                  <a:pt x="11822042" y="900163"/>
                  <a:pt x="11816614" y="901792"/>
                  <a:pt x="11810102" y="903420"/>
                </a:cubicBezTo>
                <a:cubicBezTo>
                  <a:pt x="11803589" y="905048"/>
                  <a:pt x="11795990" y="906134"/>
                  <a:pt x="11787306" y="906134"/>
                </a:cubicBezTo>
                <a:cubicBezTo>
                  <a:pt x="11774823" y="906134"/>
                  <a:pt x="11766139" y="902877"/>
                  <a:pt x="11760711" y="895821"/>
                </a:cubicBezTo>
                <a:cubicBezTo>
                  <a:pt x="11755827" y="888766"/>
                  <a:pt x="11753113" y="876825"/>
                  <a:pt x="11753113" y="860543"/>
                </a:cubicBezTo>
                <a:lnTo>
                  <a:pt x="11753113" y="777501"/>
                </a:lnTo>
                <a:lnTo>
                  <a:pt x="11804674" y="777501"/>
                </a:lnTo>
                <a:cubicBezTo>
                  <a:pt x="11816614" y="777501"/>
                  <a:pt x="11825841" y="767731"/>
                  <a:pt x="11825841" y="756334"/>
                </a:cubicBezTo>
                <a:lnTo>
                  <a:pt x="11825841" y="739508"/>
                </a:lnTo>
                <a:lnTo>
                  <a:pt x="11753113" y="739508"/>
                </a:lnTo>
                <a:close/>
                <a:moveTo>
                  <a:pt x="10315900" y="658094"/>
                </a:moveTo>
                <a:cubicBezTo>
                  <a:pt x="10302874" y="658637"/>
                  <a:pt x="10292562" y="670035"/>
                  <a:pt x="10292562" y="684147"/>
                </a:cubicBezTo>
                <a:cubicBezTo>
                  <a:pt x="10293104" y="697716"/>
                  <a:pt x="10303417" y="708571"/>
                  <a:pt x="10315900" y="708028"/>
                </a:cubicBezTo>
                <a:cubicBezTo>
                  <a:pt x="10328926" y="707486"/>
                  <a:pt x="10339238" y="696087"/>
                  <a:pt x="10339238" y="681976"/>
                </a:cubicBezTo>
                <a:cubicBezTo>
                  <a:pt x="10339238" y="668406"/>
                  <a:pt x="10328926" y="657551"/>
                  <a:pt x="10315900" y="658094"/>
                </a:cubicBezTo>
                <a:close/>
                <a:moveTo>
                  <a:pt x="10889050" y="651039"/>
                </a:moveTo>
                <a:cubicBezTo>
                  <a:pt x="10880908" y="651039"/>
                  <a:pt x="10874395" y="653210"/>
                  <a:pt x="10868425" y="658637"/>
                </a:cubicBezTo>
                <a:cubicBezTo>
                  <a:pt x="10862454" y="664065"/>
                  <a:pt x="10859741" y="671121"/>
                  <a:pt x="10859741" y="680348"/>
                </a:cubicBezTo>
                <a:cubicBezTo>
                  <a:pt x="10859741" y="689032"/>
                  <a:pt x="10862454" y="696088"/>
                  <a:pt x="10868425" y="701515"/>
                </a:cubicBezTo>
                <a:cubicBezTo>
                  <a:pt x="10873853" y="706400"/>
                  <a:pt x="10880908" y="709114"/>
                  <a:pt x="10889050" y="709114"/>
                </a:cubicBezTo>
                <a:cubicBezTo>
                  <a:pt x="10896648" y="709114"/>
                  <a:pt x="10903161" y="706943"/>
                  <a:pt x="10909132" y="701515"/>
                </a:cubicBezTo>
                <a:cubicBezTo>
                  <a:pt x="10915102" y="696088"/>
                  <a:pt x="10917816" y="689032"/>
                  <a:pt x="10917816" y="680348"/>
                </a:cubicBezTo>
                <a:cubicBezTo>
                  <a:pt x="10917816" y="671664"/>
                  <a:pt x="10915102" y="664065"/>
                  <a:pt x="10909132" y="658637"/>
                </a:cubicBezTo>
                <a:cubicBezTo>
                  <a:pt x="10903704" y="653752"/>
                  <a:pt x="10896648" y="651039"/>
                  <a:pt x="10889050" y="651039"/>
                </a:cubicBezTo>
                <a:close/>
                <a:moveTo>
                  <a:pt x="9964195" y="647783"/>
                </a:moveTo>
                <a:cubicBezTo>
                  <a:pt x="9950084" y="648326"/>
                  <a:pt x="9938686" y="660267"/>
                  <a:pt x="9938686" y="674921"/>
                </a:cubicBezTo>
                <a:cubicBezTo>
                  <a:pt x="9938143" y="689575"/>
                  <a:pt x="9950084" y="700973"/>
                  <a:pt x="9964195" y="700431"/>
                </a:cubicBezTo>
                <a:cubicBezTo>
                  <a:pt x="9978307" y="699888"/>
                  <a:pt x="9988077" y="687947"/>
                  <a:pt x="9988077" y="673293"/>
                </a:cubicBezTo>
                <a:cubicBezTo>
                  <a:pt x="9988077" y="658638"/>
                  <a:pt x="9978307" y="647241"/>
                  <a:pt x="9964195" y="647783"/>
                </a:cubicBezTo>
                <a:close/>
                <a:moveTo>
                  <a:pt x="8724004" y="623359"/>
                </a:moveTo>
                <a:cubicBezTo>
                  <a:pt x="8645847" y="623359"/>
                  <a:pt x="8576918" y="701516"/>
                  <a:pt x="8576918" y="804096"/>
                </a:cubicBezTo>
                <a:cubicBezTo>
                  <a:pt x="8576918" y="903421"/>
                  <a:pt x="8627394" y="962039"/>
                  <a:pt x="8698495" y="962039"/>
                </a:cubicBezTo>
                <a:cubicBezTo>
                  <a:pt x="8743543" y="962039"/>
                  <a:pt x="8785878" y="936529"/>
                  <a:pt x="8815187" y="888766"/>
                </a:cubicBezTo>
                <a:cubicBezTo>
                  <a:pt x="8822785" y="930016"/>
                  <a:pt x="8851008" y="947927"/>
                  <a:pt x="8872176" y="947927"/>
                </a:cubicBezTo>
                <a:cubicBezTo>
                  <a:pt x="8906369" y="947927"/>
                  <a:pt x="8928622" y="925674"/>
                  <a:pt x="8941105" y="895822"/>
                </a:cubicBezTo>
                <a:cubicBezTo>
                  <a:pt x="8948704" y="925674"/>
                  <a:pt x="8964987" y="947927"/>
                  <a:pt x="8991582" y="947927"/>
                </a:cubicBezTo>
                <a:cubicBezTo>
                  <a:pt x="9010578" y="947927"/>
                  <a:pt x="9025233" y="938157"/>
                  <a:pt x="9036088" y="922960"/>
                </a:cubicBezTo>
                <a:cubicBezTo>
                  <a:pt x="9031746" y="1027712"/>
                  <a:pt x="9026318" y="1093928"/>
                  <a:pt x="9088192" y="1080902"/>
                </a:cubicBezTo>
                <a:cubicBezTo>
                  <a:pt x="9078423" y="1051051"/>
                  <a:pt x="9075708" y="997317"/>
                  <a:pt x="9075708" y="948469"/>
                </a:cubicBezTo>
                <a:cubicBezTo>
                  <a:pt x="9075708" y="815494"/>
                  <a:pt x="9097419" y="771531"/>
                  <a:pt x="9125099" y="771531"/>
                </a:cubicBezTo>
                <a:cubicBezTo>
                  <a:pt x="9145181" y="771531"/>
                  <a:pt x="9151694" y="797041"/>
                  <a:pt x="9151694" y="824179"/>
                </a:cubicBezTo>
                <a:cubicBezTo>
                  <a:pt x="9151694" y="838833"/>
                  <a:pt x="9150066" y="855115"/>
                  <a:pt x="9146810" y="870313"/>
                </a:cubicBezTo>
                <a:cubicBezTo>
                  <a:pt x="9113159" y="891480"/>
                  <a:pt x="9086021" y="908305"/>
                  <a:pt x="9086021" y="930016"/>
                </a:cubicBezTo>
                <a:cubicBezTo>
                  <a:pt x="9086021" y="946841"/>
                  <a:pt x="9098504" y="948469"/>
                  <a:pt x="9109359" y="948469"/>
                </a:cubicBezTo>
                <a:cubicBezTo>
                  <a:pt x="9135411" y="948469"/>
                  <a:pt x="9166349" y="922960"/>
                  <a:pt x="9183717" y="875198"/>
                </a:cubicBezTo>
                <a:cubicBezTo>
                  <a:pt x="9198914" y="865971"/>
                  <a:pt x="9214111" y="855658"/>
                  <a:pt x="9228223" y="841547"/>
                </a:cubicBezTo>
                <a:cubicBezTo>
                  <a:pt x="9227680" y="846431"/>
                  <a:pt x="9227680" y="851316"/>
                  <a:pt x="9227680" y="856201"/>
                </a:cubicBezTo>
                <a:cubicBezTo>
                  <a:pt x="9227680" y="903963"/>
                  <a:pt x="9248304" y="932730"/>
                  <a:pt x="9281955" y="932730"/>
                </a:cubicBezTo>
                <a:cubicBezTo>
                  <a:pt x="9308007" y="932730"/>
                  <a:pt x="9327546" y="914276"/>
                  <a:pt x="9341658" y="886595"/>
                </a:cubicBezTo>
                <a:cubicBezTo>
                  <a:pt x="9342744" y="902335"/>
                  <a:pt x="9343286" y="917533"/>
                  <a:pt x="9343286" y="931101"/>
                </a:cubicBezTo>
                <a:cubicBezTo>
                  <a:pt x="9290097" y="955526"/>
                  <a:pt x="9231479" y="980492"/>
                  <a:pt x="9231479" y="1049422"/>
                </a:cubicBezTo>
                <a:cubicBezTo>
                  <a:pt x="9231479" y="1085244"/>
                  <a:pt x="9257531" y="1111839"/>
                  <a:pt x="9290639" y="1111839"/>
                </a:cubicBezTo>
                <a:cubicBezTo>
                  <a:pt x="9364454" y="1111839"/>
                  <a:pt x="9381279" y="1034225"/>
                  <a:pt x="9381822" y="943585"/>
                </a:cubicBezTo>
                <a:cubicBezTo>
                  <a:pt x="9405703" y="933272"/>
                  <a:pt x="9423614" y="925131"/>
                  <a:pt x="9444239" y="914819"/>
                </a:cubicBezTo>
                <a:cubicBezTo>
                  <a:pt x="9462149" y="937072"/>
                  <a:pt x="9486031" y="947927"/>
                  <a:pt x="9507741" y="947927"/>
                </a:cubicBezTo>
                <a:cubicBezTo>
                  <a:pt x="9549533" y="947927"/>
                  <a:pt x="9580470" y="925674"/>
                  <a:pt x="9605980" y="881168"/>
                </a:cubicBezTo>
                <a:cubicBezTo>
                  <a:pt x="9610322" y="915362"/>
                  <a:pt x="9619006" y="947927"/>
                  <a:pt x="9637459" y="947927"/>
                </a:cubicBezTo>
                <a:cubicBezTo>
                  <a:pt x="9670567" y="947927"/>
                  <a:pt x="9677080" y="775331"/>
                  <a:pt x="9701504" y="775331"/>
                </a:cubicBezTo>
                <a:cubicBezTo>
                  <a:pt x="9720500" y="775331"/>
                  <a:pt x="9704761" y="962039"/>
                  <a:pt x="9754694" y="962039"/>
                </a:cubicBezTo>
                <a:cubicBezTo>
                  <a:pt x="9797029" y="962039"/>
                  <a:pt x="9805170" y="797583"/>
                  <a:pt x="9825795" y="797583"/>
                </a:cubicBezTo>
                <a:cubicBezTo>
                  <a:pt x="9840449" y="797583"/>
                  <a:pt x="9841535" y="947927"/>
                  <a:pt x="9887669" y="947927"/>
                </a:cubicBezTo>
                <a:cubicBezTo>
                  <a:pt x="9910464" y="947927"/>
                  <a:pt x="9934888" y="920789"/>
                  <a:pt x="9947372" y="863257"/>
                </a:cubicBezTo>
                <a:cubicBezTo>
                  <a:pt x="9953342" y="901250"/>
                  <a:pt x="9972338" y="947927"/>
                  <a:pt x="10009788" y="947927"/>
                </a:cubicBezTo>
                <a:cubicBezTo>
                  <a:pt x="10031499" y="947927"/>
                  <a:pt x="10050495" y="925674"/>
                  <a:pt x="10065149" y="896365"/>
                </a:cubicBezTo>
                <a:cubicBezTo>
                  <a:pt x="10068948" y="926759"/>
                  <a:pt x="10077633" y="947927"/>
                  <a:pt x="10094458" y="947927"/>
                </a:cubicBezTo>
                <a:cubicBezTo>
                  <a:pt x="10137878" y="947927"/>
                  <a:pt x="10136250" y="775873"/>
                  <a:pt x="10170444" y="775873"/>
                </a:cubicBezTo>
                <a:cubicBezTo>
                  <a:pt x="10197039" y="775873"/>
                  <a:pt x="10188897" y="947927"/>
                  <a:pt x="10252399" y="947927"/>
                </a:cubicBezTo>
                <a:cubicBezTo>
                  <a:pt x="10282794" y="947927"/>
                  <a:pt x="10296905" y="922417"/>
                  <a:pt x="10305590" y="889852"/>
                </a:cubicBezTo>
                <a:cubicBezTo>
                  <a:pt x="10317530" y="937614"/>
                  <a:pt x="10335983" y="947927"/>
                  <a:pt x="10351724" y="947927"/>
                </a:cubicBezTo>
                <a:cubicBezTo>
                  <a:pt x="10361493" y="947927"/>
                  <a:pt x="10369092" y="944670"/>
                  <a:pt x="10378861" y="932730"/>
                </a:cubicBezTo>
                <a:cubicBezTo>
                  <a:pt x="10331099" y="911020"/>
                  <a:pt x="10334898" y="833405"/>
                  <a:pt x="10334898" y="782929"/>
                </a:cubicBezTo>
                <a:cubicBezTo>
                  <a:pt x="10334898" y="756877"/>
                  <a:pt x="10333270" y="740051"/>
                  <a:pt x="10316445" y="740051"/>
                </a:cubicBezTo>
                <a:cubicBezTo>
                  <a:pt x="10308846" y="740051"/>
                  <a:pt x="10305047" y="741680"/>
                  <a:pt x="10297991" y="743851"/>
                </a:cubicBezTo>
                <a:cubicBezTo>
                  <a:pt x="10303961" y="831234"/>
                  <a:pt x="10284422" y="908305"/>
                  <a:pt x="10259998" y="908305"/>
                </a:cubicBezTo>
                <a:cubicBezTo>
                  <a:pt x="10228518" y="908305"/>
                  <a:pt x="10244258" y="721055"/>
                  <a:pt x="10177499" y="721055"/>
                </a:cubicBezTo>
                <a:cubicBezTo>
                  <a:pt x="10115626" y="721055"/>
                  <a:pt x="10106941" y="870313"/>
                  <a:pt x="10099886" y="870313"/>
                </a:cubicBezTo>
                <a:cubicBezTo>
                  <a:pt x="10095001" y="870313"/>
                  <a:pt x="10094458" y="831234"/>
                  <a:pt x="10094458" y="801383"/>
                </a:cubicBezTo>
                <a:cubicBezTo>
                  <a:pt x="10097172" y="787271"/>
                  <a:pt x="10098257" y="774245"/>
                  <a:pt x="10098257" y="764475"/>
                </a:cubicBezTo>
                <a:cubicBezTo>
                  <a:pt x="10098257" y="750364"/>
                  <a:pt x="10092830" y="726482"/>
                  <a:pt x="10060807" y="738423"/>
                </a:cubicBezTo>
                <a:cubicBezTo>
                  <a:pt x="10061893" y="845346"/>
                  <a:pt x="10040725" y="909934"/>
                  <a:pt x="10016302" y="909934"/>
                </a:cubicBezTo>
                <a:cubicBezTo>
                  <a:pt x="9981022" y="909934"/>
                  <a:pt x="9980480" y="813323"/>
                  <a:pt x="9980480" y="786186"/>
                </a:cubicBezTo>
                <a:cubicBezTo>
                  <a:pt x="9980480" y="760133"/>
                  <a:pt x="9982108" y="725397"/>
                  <a:pt x="9943572" y="737880"/>
                </a:cubicBezTo>
                <a:cubicBezTo>
                  <a:pt x="9937602" y="831234"/>
                  <a:pt x="9913178" y="901250"/>
                  <a:pt x="9897981" y="901250"/>
                </a:cubicBezTo>
                <a:cubicBezTo>
                  <a:pt x="9875186" y="901250"/>
                  <a:pt x="9879528" y="740051"/>
                  <a:pt x="9830137" y="740051"/>
                </a:cubicBezTo>
                <a:cubicBezTo>
                  <a:pt x="9785631" y="740051"/>
                  <a:pt x="9771519" y="892566"/>
                  <a:pt x="9762293" y="892566"/>
                </a:cubicBezTo>
                <a:cubicBezTo>
                  <a:pt x="9745467" y="892566"/>
                  <a:pt x="9767720" y="721055"/>
                  <a:pt x="9703132" y="721055"/>
                </a:cubicBezTo>
                <a:cubicBezTo>
                  <a:pt x="9669481" y="721055"/>
                  <a:pt x="9655913" y="778587"/>
                  <a:pt x="9642887" y="842632"/>
                </a:cubicBezTo>
                <a:cubicBezTo>
                  <a:pt x="9640173" y="855115"/>
                  <a:pt x="9637459" y="855658"/>
                  <a:pt x="9636916" y="841547"/>
                </a:cubicBezTo>
                <a:cubicBezTo>
                  <a:pt x="9636374" y="830149"/>
                  <a:pt x="9636374" y="817122"/>
                  <a:pt x="9636374" y="805725"/>
                </a:cubicBezTo>
                <a:cubicBezTo>
                  <a:pt x="9652656" y="741137"/>
                  <a:pt x="9632574" y="717255"/>
                  <a:pt x="9602723" y="734624"/>
                </a:cubicBezTo>
                <a:cubicBezTo>
                  <a:pt x="9612493" y="853487"/>
                  <a:pt x="9557674" y="911562"/>
                  <a:pt x="9515882" y="911562"/>
                </a:cubicBezTo>
                <a:cubicBezTo>
                  <a:pt x="9500685" y="911562"/>
                  <a:pt x="9488745" y="905049"/>
                  <a:pt x="9480061" y="894737"/>
                </a:cubicBezTo>
                <a:cubicBezTo>
                  <a:pt x="9530536" y="863799"/>
                  <a:pt x="9552790" y="828521"/>
                  <a:pt x="9552790" y="793784"/>
                </a:cubicBezTo>
                <a:cubicBezTo>
                  <a:pt x="9552790" y="756334"/>
                  <a:pt x="9531079" y="734624"/>
                  <a:pt x="9495800" y="734624"/>
                </a:cubicBezTo>
                <a:cubicBezTo>
                  <a:pt x="9445867" y="734624"/>
                  <a:pt x="9418187" y="786186"/>
                  <a:pt x="9418187" y="829606"/>
                </a:cubicBezTo>
                <a:cubicBezTo>
                  <a:pt x="9418187" y="852944"/>
                  <a:pt x="9422529" y="873027"/>
                  <a:pt x="9429584" y="889309"/>
                </a:cubicBezTo>
                <a:lnTo>
                  <a:pt x="9381279" y="911562"/>
                </a:lnTo>
                <a:cubicBezTo>
                  <a:pt x="9380194" y="866514"/>
                  <a:pt x="9374766" y="819293"/>
                  <a:pt x="9370967" y="775873"/>
                </a:cubicBezTo>
                <a:cubicBezTo>
                  <a:pt x="9344372" y="768817"/>
                  <a:pt x="9336774" y="781301"/>
                  <a:pt x="9334602" y="805182"/>
                </a:cubicBezTo>
                <a:cubicBezTo>
                  <a:pt x="9329717" y="858915"/>
                  <a:pt x="9310178" y="892566"/>
                  <a:pt x="9292268" y="892566"/>
                </a:cubicBezTo>
                <a:cubicBezTo>
                  <a:pt x="9279242" y="892566"/>
                  <a:pt x="9271100" y="876283"/>
                  <a:pt x="9270014" y="859457"/>
                </a:cubicBezTo>
                <a:cubicBezTo>
                  <a:pt x="9265130" y="773160"/>
                  <a:pt x="9335145" y="749278"/>
                  <a:pt x="9372052" y="761761"/>
                </a:cubicBezTo>
                <a:cubicBezTo>
                  <a:pt x="9379651" y="742765"/>
                  <a:pt x="9371510" y="729196"/>
                  <a:pt x="9338401" y="729196"/>
                </a:cubicBezTo>
                <a:cubicBezTo>
                  <a:pt x="9298238" y="729196"/>
                  <a:pt x="9268386" y="753620"/>
                  <a:pt x="9246133" y="785100"/>
                </a:cubicBezTo>
                <a:cubicBezTo>
                  <a:pt x="9231479" y="805725"/>
                  <a:pt x="9214654" y="820922"/>
                  <a:pt x="9191858" y="838833"/>
                </a:cubicBezTo>
                <a:cubicBezTo>
                  <a:pt x="9192401" y="833405"/>
                  <a:pt x="9192943" y="828521"/>
                  <a:pt x="9192943" y="823636"/>
                </a:cubicBezTo>
                <a:cubicBezTo>
                  <a:pt x="9192943" y="762847"/>
                  <a:pt x="9159836" y="735709"/>
                  <a:pt x="9128356" y="735709"/>
                </a:cubicBezTo>
                <a:cubicBezTo>
                  <a:pt x="9102304" y="735709"/>
                  <a:pt x="9086021" y="751449"/>
                  <a:pt x="9076252" y="775331"/>
                </a:cubicBezTo>
                <a:cubicBezTo>
                  <a:pt x="9074080" y="751449"/>
                  <a:pt x="9069195" y="741137"/>
                  <a:pt x="9055084" y="741137"/>
                </a:cubicBezTo>
                <a:cubicBezTo>
                  <a:pt x="9049114" y="741137"/>
                  <a:pt x="9040972" y="742765"/>
                  <a:pt x="9031746" y="747107"/>
                </a:cubicBezTo>
                <a:cubicBezTo>
                  <a:pt x="9036088" y="760676"/>
                  <a:pt x="9037173" y="790528"/>
                  <a:pt x="9037173" y="810067"/>
                </a:cubicBezTo>
                <a:cubicBezTo>
                  <a:pt x="9037173" y="883339"/>
                  <a:pt x="9016006" y="915904"/>
                  <a:pt x="8995924" y="915904"/>
                </a:cubicBezTo>
                <a:cubicBezTo>
                  <a:pt x="8972585" y="915904"/>
                  <a:pt x="8969329" y="829063"/>
                  <a:pt x="8967158" y="795412"/>
                </a:cubicBezTo>
                <a:cubicBezTo>
                  <a:pt x="8964444" y="794327"/>
                  <a:pt x="8961188" y="793241"/>
                  <a:pt x="8955760" y="793241"/>
                </a:cubicBezTo>
                <a:cubicBezTo>
                  <a:pt x="8935135" y="793241"/>
                  <a:pt x="8932421" y="821465"/>
                  <a:pt x="8926994" y="846974"/>
                </a:cubicBezTo>
                <a:cubicBezTo>
                  <a:pt x="8921024" y="875740"/>
                  <a:pt x="8904741" y="911562"/>
                  <a:pt x="8880317" y="911562"/>
                </a:cubicBezTo>
                <a:cubicBezTo>
                  <a:pt x="8865663" y="911562"/>
                  <a:pt x="8856436" y="897450"/>
                  <a:pt x="8855350" y="871941"/>
                </a:cubicBezTo>
                <a:cubicBezTo>
                  <a:pt x="8853179" y="820379"/>
                  <a:pt x="8896057" y="759048"/>
                  <a:pt x="8963359" y="778044"/>
                </a:cubicBezTo>
                <a:cubicBezTo>
                  <a:pt x="8972043" y="757419"/>
                  <a:pt x="8958474" y="741680"/>
                  <a:pt x="8930250" y="741680"/>
                </a:cubicBezTo>
                <a:cubicBezTo>
                  <a:pt x="8880860" y="741680"/>
                  <a:pt x="8840153" y="778587"/>
                  <a:pt x="8822243" y="822008"/>
                </a:cubicBezTo>
                <a:cubicBezTo>
                  <a:pt x="8804331" y="862172"/>
                  <a:pt x="8772852" y="920789"/>
                  <a:pt x="8708264" y="920789"/>
                </a:cubicBezTo>
                <a:cubicBezTo>
                  <a:pt x="8662673" y="920789"/>
                  <a:pt x="8628479" y="881168"/>
                  <a:pt x="8628479" y="798126"/>
                </a:cubicBezTo>
                <a:cubicBezTo>
                  <a:pt x="8628479" y="726482"/>
                  <a:pt x="8673528" y="658638"/>
                  <a:pt x="8721833" y="658638"/>
                </a:cubicBezTo>
                <a:cubicBezTo>
                  <a:pt x="8755484" y="658638"/>
                  <a:pt x="8763082" y="691746"/>
                  <a:pt x="8760369" y="722683"/>
                </a:cubicBezTo>
                <a:cubicBezTo>
                  <a:pt x="8777737" y="736795"/>
                  <a:pt x="8806502" y="723768"/>
                  <a:pt x="8806502" y="688490"/>
                </a:cubicBezTo>
                <a:cubicBezTo>
                  <a:pt x="8806502" y="664608"/>
                  <a:pt x="8786963" y="623359"/>
                  <a:pt x="8724004" y="623359"/>
                </a:cubicBezTo>
                <a:close/>
                <a:moveTo>
                  <a:pt x="10614417" y="616845"/>
                </a:moveTo>
                <a:cubicBezTo>
                  <a:pt x="10567740" y="672748"/>
                  <a:pt x="10406543" y="714541"/>
                  <a:pt x="10406543" y="831233"/>
                </a:cubicBezTo>
                <a:cubicBezTo>
                  <a:pt x="10406543" y="876825"/>
                  <a:pt x="10435308" y="919703"/>
                  <a:pt x="10478186" y="937071"/>
                </a:cubicBezTo>
                <a:cubicBezTo>
                  <a:pt x="10502610" y="946297"/>
                  <a:pt x="10527577" y="946840"/>
                  <a:pt x="10552001" y="938699"/>
                </a:cubicBezTo>
                <a:cubicBezTo>
                  <a:pt x="10562856" y="935171"/>
                  <a:pt x="10572897" y="930015"/>
                  <a:pt x="10582056" y="923637"/>
                </a:cubicBezTo>
                <a:lnTo>
                  <a:pt x="10605742" y="902222"/>
                </a:lnTo>
                <a:lnTo>
                  <a:pt x="10584429" y="941210"/>
                </a:lnTo>
                <a:cubicBezTo>
                  <a:pt x="10572488" y="952133"/>
                  <a:pt x="10556613" y="959868"/>
                  <a:pt x="10538973" y="962039"/>
                </a:cubicBezTo>
                <a:cubicBezTo>
                  <a:pt x="10547657" y="971265"/>
                  <a:pt x="10566653" y="976150"/>
                  <a:pt x="10589992" y="976150"/>
                </a:cubicBezTo>
                <a:cubicBezTo>
                  <a:pt x="10631783" y="976150"/>
                  <a:pt x="10682802" y="963667"/>
                  <a:pt x="10709398" y="937072"/>
                </a:cubicBezTo>
                <a:cubicBezTo>
                  <a:pt x="10674118" y="937614"/>
                  <a:pt x="10651323" y="914819"/>
                  <a:pt x="10649152" y="883339"/>
                </a:cubicBezTo>
                <a:cubicBezTo>
                  <a:pt x="10665977" y="904506"/>
                  <a:pt x="10685516" y="912648"/>
                  <a:pt x="10708312" y="912648"/>
                </a:cubicBezTo>
                <a:cubicBezTo>
                  <a:pt x="10757160" y="912648"/>
                  <a:pt x="10794610" y="873027"/>
                  <a:pt x="10795153" y="826350"/>
                </a:cubicBezTo>
                <a:lnTo>
                  <a:pt x="10795631" y="825891"/>
                </a:lnTo>
                <a:lnTo>
                  <a:pt x="10795697" y="826349"/>
                </a:lnTo>
                <a:cubicBezTo>
                  <a:pt x="10795697" y="826824"/>
                  <a:pt x="10803583" y="818497"/>
                  <a:pt x="10801382" y="820371"/>
                </a:cubicBezTo>
                <a:lnTo>
                  <a:pt x="10795631" y="825891"/>
                </a:lnTo>
                <a:lnTo>
                  <a:pt x="10795154" y="822549"/>
                </a:lnTo>
                <a:cubicBezTo>
                  <a:pt x="10794069" y="767731"/>
                  <a:pt x="10768017" y="722139"/>
                  <a:pt x="10727853" y="685232"/>
                </a:cubicBezTo>
                <a:cubicBezTo>
                  <a:pt x="10697459" y="657551"/>
                  <a:pt x="10661094" y="636384"/>
                  <a:pt x="10623644" y="620644"/>
                </a:cubicBezTo>
                <a:cubicBezTo>
                  <a:pt x="10620388" y="619558"/>
                  <a:pt x="10617674" y="617930"/>
                  <a:pt x="10614417" y="616845"/>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en-GB"/>
              <a:t>Insert picture and send to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329121045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4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latin typeface="Ubuntu" panose="020B0504030602030204" pitchFamily="34" charset="0"/>
              </a:defRPr>
            </a:lvl1pPr>
            <a:lvl2pPr>
              <a:defRPr>
                <a:solidFill>
                  <a:schemeClr val="bg1"/>
                </a:solidFill>
                <a:latin typeface="Ubuntu" panose="020B0504030602030204" pitchFamily="34" charset="0"/>
              </a:defRPr>
            </a:lvl2pPr>
            <a:lvl3pPr>
              <a:defRPr>
                <a:solidFill>
                  <a:schemeClr val="bg1"/>
                </a:solidFill>
                <a:latin typeface="Ubuntu" panose="020B0504030602030204" pitchFamily="34" charset="0"/>
              </a:defRPr>
            </a:lvl3pPr>
            <a:lvl4pPr>
              <a:buClr>
                <a:schemeClr val="accent5"/>
              </a:buClr>
              <a:defRPr>
                <a:solidFill>
                  <a:schemeClr val="bg1"/>
                </a:solidFill>
                <a:latin typeface="Ubuntu" panose="020B0504030602030204" pitchFamily="34" charset="0"/>
              </a:defRPr>
            </a:lvl4pPr>
            <a:lvl5pPr>
              <a:buClr>
                <a:schemeClr val="bg1"/>
              </a:buClr>
              <a:defRPr>
                <a:solidFill>
                  <a:schemeClr val="bg1"/>
                </a:solidFill>
                <a:latin typeface="Ubuntu" panose="020B0504030602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61703350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947324148"/>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26134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163739"/>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grpSp>
        <p:nvGrpSpPr>
          <p:cNvPr id="8" name="Group 1">
            <a:extLst>
              <a:ext uri="{FF2B5EF4-FFF2-40B4-BE49-F238E27FC236}">
                <a16:creationId xmlns:a16="http://schemas.microsoft.com/office/drawing/2014/main" id="{0650393B-7E46-5ECE-4310-AF8EC7255742}"/>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09E51387-52A5-B06A-AEC1-9A4DA7D2DAC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0" name="Freeform: Shape 3">
              <a:extLst>
                <a:ext uri="{FF2B5EF4-FFF2-40B4-BE49-F238E27FC236}">
                  <a16:creationId xmlns:a16="http://schemas.microsoft.com/office/drawing/2014/main" id="{1A2D993C-1439-0B90-F87F-84C15E66CF4C}"/>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1" name="Freeform: Shape 4">
              <a:extLst>
                <a:ext uri="{FF2B5EF4-FFF2-40B4-BE49-F238E27FC236}">
                  <a16:creationId xmlns:a16="http://schemas.microsoft.com/office/drawing/2014/main" id="{9D4A7921-9C3C-6166-B6B7-CEDC5FF28E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14">
              <a:extLst>
                <a:ext uri="{FF2B5EF4-FFF2-40B4-BE49-F238E27FC236}">
                  <a16:creationId xmlns:a16="http://schemas.microsoft.com/office/drawing/2014/main" id="{F10A1F9A-93B6-1683-DDEE-2FA6B370E583}"/>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20">
              <a:extLst>
                <a:ext uri="{FF2B5EF4-FFF2-40B4-BE49-F238E27FC236}">
                  <a16:creationId xmlns:a16="http://schemas.microsoft.com/office/drawing/2014/main" id="{74BF5A15-51F5-5003-8669-EA9C008D0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9094730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610930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a:xfrm>
            <a:off x="839415" y="690229"/>
            <a:ext cx="10513169" cy="414670"/>
          </a:xfrm>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839415" y="1447800"/>
            <a:ext cx="10513169"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231540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2 Capgemini. All rights reserved.</a:t>
            </a:r>
          </a:p>
        </p:txBody>
      </p:sp>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3"/>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5"/>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7"/>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9"/>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1"/>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lt1"/>
                </a:solidFill>
                <a:effectLst/>
                <a:latin typeface="+mn-lt"/>
                <a:ea typeface="+mn-ea"/>
                <a:cs typeface="+mn-cs"/>
              </a:rPr>
              <a:t>As the digital innovation, design and transformation brand of the Capgemini Group, Capgemini Invent enables CxOs to envision and shape the future of their businesses. Located in nearly 40 studios and more than 60 office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40,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invent</a:t>
            </a:r>
          </a:p>
        </p:txBody>
      </p:sp>
      <p:pic>
        <p:nvPicPr>
          <p:cNvPr id="2" name="Picture 1">
            <a:extLst>
              <a:ext uri="{FF2B5EF4-FFF2-40B4-BE49-F238E27FC236}">
                <a16:creationId xmlns:a16="http://schemas.microsoft.com/office/drawing/2014/main" id="{9328BF37-9B95-4744-4F85-0245111F0E06}"/>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684004" y="759464"/>
            <a:ext cx="2550686" cy="568878"/>
          </a:xfrm>
          <a:prstGeom prst="rect">
            <a:avLst/>
          </a:prstGeom>
        </p:spPr>
      </p:pic>
    </p:spTree>
    <p:extLst>
      <p:ext uri="{BB962C8B-B14F-4D97-AF65-F5344CB8AC3E}">
        <p14:creationId xmlns:p14="http://schemas.microsoft.com/office/powerpoint/2010/main" val="357353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de-DE"/>
          </a:p>
        </p:txBody>
      </p:sp>
    </p:spTree>
    <p:extLst>
      <p:ext uri="{BB962C8B-B14F-4D97-AF65-F5344CB8AC3E}">
        <p14:creationId xmlns:p14="http://schemas.microsoft.com/office/powerpoint/2010/main" val="1912545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1_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GB"/>
              <a:t>Click to edit Master title style</a:t>
            </a:r>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2106347236"/>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b="0" i="0">
                <a:solidFill>
                  <a:schemeClr val="bg1"/>
                </a:solidFill>
                <a:latin typeface="Ubuntu" panose="020B0504030602030204" pitchFamily="34" charset="0"/>
              </a:defRPr>
            </a:lvl1pPr>
            <a:lvl2pPr>
              <a:defRPr b="0" i="0">
                <a:solidFill>
                  <a:schemeClr val="bg1"/>
                </a:solidFill>
                <a:latin typeface="Ubuntu" panose="020B0504030602030204" pitchFamily="34" charset="0"/>
              </a:defRPr>
            </a:lvl2pPr>
            <a:lvl3pPr>
              <a:defRPr b="0" i="0">
                <a:solidFill>
                  <a:schemeClr val="bg1"/>
                </a:solidFill>
                <a:latin typeface="Ubuntu" panose="020B0504030602030204" pitchFamily="34" charset="0"/>
              </a:defRPr>
            </a:lvl3pPr>
            <a:lvl4pPr>
              <a:buClr>
                <a:schemeClr val="accent5"/>
              </a:buClr>
              <a:defRPr b="0" i="0">
                <a:solidFill>
                  <a:schemeClr val="bg1"/>
                </a:solidFill>
                <a:latin typeface="Ubuntu" panose="020B0504030602030204" pitchFamily="34" charset="0"/>
              </a:defRPr>
            </a:lvl4pPr>
            <a:lvl5pPr>
              <a:buClr>
                <a:schemeClr val="bg1"/>
              </a:buClr>
              <a:defRPr b="0" i="0">
                <a:solidFill>
                  <a:schemeClr val="bg1"/>
                </a:solidFill>
                <a:latin typeface="Ubuntu" panose="020B0504030602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138276509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8EDD86A9-A101-4431-BC7F-D7A613B745EB}"/>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92E5232F-44F9-4DA7-8CAF-37E7E772B19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ED6443D4-9252-4F48-B3B1-DE1F07A5D421}"/>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00D6E549-1EDB-4087-A87E-246AD0B86307}"/>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9B59D2B6-7CA0-4DD1-ACF9-FE9B371E6A4B}"/>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D752C13A-0707-4DB7-BEE5-11C70CC4104C}"/>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470791577"/>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6" name="Group 5">
            <a:extLst>
              <a:ext uri="{FF2B5EF4-FFF2-40B4-BE49-F238E27FC236}">
                <a16:creationId xmlns:a16="http://schemas.microsoft.com/office/drawing/2014/main" id="{138C36DE-BE7C-4EA8-8C11-63DF35071C75}"/>
              </a:ext>
            </a:extLst>
          </p:cNvPr>
          <p:cNvGrpSpPr>
            <a:grpSpLocks noChangeAspect="1"/>
          </p:cNvGrpSpPr>
          <p:nvPr userDrawn="1"/>
        </p:nvGrpSpPr>
        <p:grpSpPr>
          <a:xfrm>
            <a:off x="476900" y="611982"/>
            <a:ext cx="2267015" cy="509586"/>
            <a:chOff x="9550400" y="612775"/>
            <a:chExt cx="2231297" cy="501650"/>
          </a:xfrm>
        </p:grpSpPr>
        <p:sp>
          <p:nvSpPr>
            <p:cNvPr id="8" name="Freeform: Shape 7">
              <a:extLst>
                <a:ext uri="{FF2B5EF4-FFF2-40B4-BE49-F238E27FC236}">
                  <a16:creationId xmlns:a16="http://schemas.microsoft.com/office/drawing/2014/main" id="{F832A913-EBD0-4A52-9BC5-C515E20AA2D2}"/>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6C7C00F4-BABA-40DB-9C59-16A7B33536DE}"/>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6629252-ADFC-4FC9-85E5-6800A45F303B}"/>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DB5264D-26DE-4A16-881C-0B8EE6975DF9}"/>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1478FE54-3447-4979-8CE3-A274C8BD5A44}"/>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2018060506"/>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0240C396-6AE9-4D76-A223-20E91B036600}"/>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FC704551-0A43-448B-9BC4-076647B2D2FA}"/>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57D7C248-3780-4A7C-95A8-D356BF27AD73}"/>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217CBF3A-5C0A-4C4E-9FD3-E028E791FE81}"/>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CD80AA6-A949-4FC4-8CD0-6E6D7300DF2C}"/>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E8743398-464F-49A4-8D54-C73C461670F9}"/>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2510409850"/>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009526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5a">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grpSp>
        <p:nvGrpSpPr>
          <p:cNvPr id="8" name="Group 1">
            <a:extLst>
              <a:ext uri="{FF2B5EF4-FFF2-40B4-BE49-F238E27FC236}">
                <a16:creationId xmlns:a16="http://schemas.microsoft.com/office/drawing/2014/main" id="{AA102172-14DD-5ED5-33AF-356721242379}"/>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21C01B30-4538-A317-44E5-BDF28A06DCA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0" name="Freeform: Shape 3">
              <a:extLst>
                <a:ext uri="{FF2B5EF4-FFF2-40B4-BE49-F238E27FC236}">
                  <a16:creationId xmlns:a16="http://schemas.microsoft.com/office/drawing/2014/main" id="{A9A8C1E0-9587-0DA1-86EF-2B2312071C5E}"/>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1" name="Freeform: Shape 4">
              <a:extLst>
                <a:ext uri="{FF2B5EF4-FFF2-40B4-BE49-F238E27FC236}">
                  <a16:creationId xmlns:a16="http://schemas.microsoft.com/office/drawing/2014/main" id="{B65EA192-75EF-F13F-0CC2-C84DE74A65A7}"/>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14">
              <a:extLst>
                <a:ext uri="{FF2B5EF4-FFF2-40B4-BE49-F238E27FC236}">
                  <a16:creationId xmlns:a16="http://schemas.microsoft.com/office/drawing/2014/main" id="{A48BD9AC-7231-CA62-C64B-046F4398B636}"/>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20">
              <a:extLst>
                <a:ext uri="{FF2B5EF4-FFF2-40B4-BE49-F238E27FC236}">
                  <a16:creationId xmlns:a16="http://schemas.microsoft.com/office/drawing/2014/main" id="{E90D6E4E-CBEC-C140-FE24-C2FD729A0A29}"/>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167576"/>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spTree>
    <p:extLst>
      <p:ext uri="{BB962C8B-B14F-4D97-AF65-F5344CB8AC3E}">
        <p14:creationId xmlns:p14="http://schemas.microsoft.com/office/powerpoint/2010/main" val="416867122"/>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en-US"/>
              <a:t>Click to edit Master title styl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en-US"/>
              <a:t>Click icon to add pictur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412173587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77685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58504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34175284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485095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724617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537636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6534001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6672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86829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5b">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285134"/>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grpSp>
        <p:nvGrpSpPr>
          <p:cNvPr id="8" name="Group 1">
            <a:extLst>
              <a:ext uri="{FF2B5EF4-FFF2-40B4-BE49-F238E27FC236}">
                <a16:creationId xmlns:a16="http://schemas.microsoft.com/office/drawing/2014/main" id="{03C5622C-AFD4-93DA-3105-DD24A1095D2B}"/>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EC1F4AF4-B2D1-B383-5414-6A7CE220351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0" name="Freeform: Shape 3">
              <a:extLst>
                <a:ext uri="{FF2B5EF4-FFF2-40B4-BE49-F238E27FC236}">
                  <a16:creationId xmlns:a16="http://schemas.microsoft.com/office/drawing/2014/main" id="{562EA075-7E1A-57B6-FA93-F8A92DA56EC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1" name="Freeform: Shape 4">
              <a:extLst>
                <a:ext uri="{FF2B5EF4-FFF2-40B4-BE49-F238E27FC236}">
                  <a16:creationId xmlns:a16="http://schemas.microsoft.com/office/drawing/2014/main" id="{ABED82B4-66F4-60A2-8FF7-76C7FFFB8A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14">
              <a:extLst>
                <a:ext uri="{FF2B5EF4-FFF2-40B4-BE49-F238E27FC236}">
                  <a16:creationId xmlns:a16="http://schemas.microsoft.com/office/drawing/2014/main" id="{C403332C-6371-29E3-2335-DFAA7BE6C2F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20">
              <a:extLst>
                <a:ext uri="{FF2B5EF4-FFF2-40B4-BE49-F238E27FC236}">
                  <a16:creationId xmlns:a16="http://schemas.microsoft.com/office/drawing/2014/main" id="{3D2D8432-F91A-C228-692F-66BF4106BFBA}"/>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11031270"/>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2563988082"/>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185451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1"/>
                </a:solidFill>
              </a:defRPr>
            </a:lvl1pPr>
          </a:lstStyle>
          <a:p>
            <a:r>
              <a:rPr lang="de-DE"/>
              <a:t>Insert picture, edit alt text and send </a:t>
            </a:r>
            <a:r>
              <a:rPr lang="de-DE" err="1"/>
              <a:t>to</a:t>
            </a:r>
            <a:r>
              <a:rPr lang="de-DE"/>
              <a:t> back</a:t>
            </a:r>
          </a:p>
        </p:txBody>
      </p:sp>
    </p:spTree>
    <p:extLst>
      <p:ext uri="{BB962C8B-B14F-4D97-AF65-F5344CB8AC3E}">
        <p14:creationId xmlns:p14="http://schemas.microsoft.com/office/powerpoint/2010/main" val="275757700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387903425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808368" flipV="1">
            <a:off x="4403152" y="337083"/>
            <a:ext cx="8831279" cy="4103533"/>
          </a:xfrm>
          <a:prstGeom prst="rect">
            <a:avLst/>
          </a:prstGeom>
        </p:spPr>
      </p:pic>
      <p:pic>
        <p:nvPicPr>
          <p:cNvPr id="21" name="Picture 7" descr="facebook">
            <a:hlinkClick r:id="rId3"/>
          </p:cNvPr>
          <p:cNvPicPr>
            <a:picLocks noChangeAspect="1" noChangeArrowheads="1"/>
          </p:cNvPicPr>
          <p:nvPr/>
        </p:nvPicPr>
        <p:blipFill>
          <a:blip r:embed="rId4" cstate="print"/>
          <a:srcRect/>
          <a:stretch>
            <a:fillRect/>
          </a:stretch>
        </p:blipFill>
        <p:spPr bwMode="auto">
          <a:xfrm>
            <a:off x="426720" y="4968013"/>
            <a:ext cx="333195" cy="333195"/>
          </a:xfrm>
          <a:prstGeom prst="rect">
            <a:avLst/>
          </a:prstGeom>
          <a:noFill/>
        </p:spPr>
      </p:pic>
      <p:pic>
        <p:nvPicPr>
          <p:cNvPr id="17" name="Picture 2" descr="LinkedIn">
            <a:hlinkClick r:id="rId5"/>
          </p:cNvPr>
          <p:cNvPicPr>
            <a:picLocks noChangeAspect="1" noChangeArrowheads="1"/>
          </p:cNvPicPr>
          <p:nvPr/>
        </p:nvPicPr>
        <p:blipFill>
          <a:blip r:embed="rId6" cstate="print"/>
          <a:srcRect/>
          <a:stretch>
            <a:fillRect/>
          </a:stretch>
        </p:blipFill>
        <p:spPr bwMode="auto">
          <a:xfrm>
            <a:off x="810097" y="4968013"/>
            <a:ext cx="333195" cy="333195"/>
          </a:xfrm>
          <a:prstGeom prst="rect">
            <a:avLst/>
          </a:prstGeom>
          <a:noFill/>
        </p:spPr>
      </p:pic>
      <p:pic>
        <p:nvPicPr>
          <p:cNvPr id="18" name="Picture 4" descr="SlideShare">
            <a:hlinkClick r:id="rId7"/>
          </p:cNvPr>
          <p:cNvPicPr>
            <a:picLocks noChangeAspect="1" noChangeArrowheads="1"/>
          </p:cNvPicPr>
          <p:nvPr/>
        </p:nvPicPr>
        <p:blipFill>
          <a:blip r:embed="rId8" cstate="print"/>
          <a:srcRect/>
          <a:stretch>
            <a:fillRect/>
          </a:stretch>
        </p:blipFill>
        <p:spPr bwMode="auto">
          <a:xfrm>
            <a:off x="1193474" y="4968013"/>
            <a:ext cx="333195" cy="333195"/>
          </a:xfrm>
          <a:prstGeom prst="rect">
            <a:avLst/>
          </a:prstGeom>
          <a:noFill/>
        </p:spPr>
      </p:pic>
      <p:pic>
        <p:nvPicPr>
          <p:cNvPr id="19" name="Picture 5" descr="Twitter">
            <a:hlinkClick r:id="rId9"/>
          </p:cNvPr>
          <p:cNvPicPr>
            <a:picLocks noChangeAspect="1" noChangeArrowheads="1"/>
          </p:cNvPicPr>
          <p:nvPr/>
        </p:nvPicPr>
        <p:blipFill>
          <a:blip r:embed="rId10" cstate="print"/>
          <a:srcRect/>
          <a:stretch>
            <a:fillRect/>
          </a:stretch>
        </p:blipFill>
        <p:spPr bwMode="auto">
          <a:xfrm>
            <a:off x="1576851" y="4968013"/>
            <a:ext cx="333195" cy="333195"/>
          </a:xfrm>
          <a:prstGeom prst="rect">
            <a:avLst/>
          </a:prstGeom>
          <a:noFill/>
        </p:spPr>
      </p:pic>
      <p:pic>
        <p:nvPicPr>
          <p:cNvPr id="20" name="Picture 6" descr="YouTube">
            <a:hlinkClick r:id="rId11"/>
          </p:cNvPr>
          <p:cNvPicPr>
            <a:picLocks noChangeAspect="1" noChangeArrowheads="1"/>
          </p:cNvPicPr>
          <p:nvPr userDrawn="1"/>
        </p:nvPicPr>
        <p:blipFill>
          <a:blip r:embed="rId12" cstate="print"/>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3 Capgemini. All rights reserved.</a:t>
            </a:r>
          </a:p>
        </p:txBody>
      </p:sp>
      <p:grpSp>
        <p:nvGrpSpPr>
          <p:cNvPr id="10" name="Group 9">
            <a:extLst>
              <a:ext uri="{FF2B5EF4-FFF2-40B4-BE49-F238E27FC236}">
                <a16:creationId xmlns:a16="http://schemas.microsoft.com/office/drawing/2014/main" id="{D2BF7E9C-FD5C-450A-A1FB-17FC5765ED64}"/>
              </a:ext>
            </a:extLst>
          </p:cNvPr>
          <p:cNvGrpSpPr>
            <a:grpSpLocks noChangeAspect="1"/>
          </p:cNvGrpSpPr>
          <p:nvPr userDrawn="1"/>
        </p:nvGrpSpPr>
        <p:grpSpPr>
          <a:xfrm>
            <a:off x="411020" y="984393"/>
            <a:ext cx="2231297" cy="501650"/>
            <a:chOff x="9550400" y="612775"/>
            <a:chExt cx="2231297" cy="501650"/>
          </a:xfrm>
        </p:grpSpPr>
        <p:sp>
          <p:nvSpPr>
            <p:cNvPr id="11" name="Freeform: Shape 10">
              <a:extLst>
                <a:ext uri="{FF2B5EF4-FFF2-40B4-BE49-F238E27FC236}">
                  <a16:creationId xmlns:a16="http://schemas.microsoft.com/office/drawing/2014/main" id="{DD26A2F9-4026-4DA7-B00A-AE48A8B0CD4D}"/>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0DCE7524-34A1-429B-91AD-74BE1F944E0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0F68A571-28DB-453F-861D-36D50723ED4D}"/>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923DB0AA-5015-4FEA-A32D-44257CF2BED3}"/>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3E8CD59B-E3D8-4E45-86AA-3D0BB06038CE}"/>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986630366"/>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print"/>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print"/>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print"/>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print"/>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2" cstate="print"/>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3 Capgemini. All rights reserved.</a:t>
            </a:r>
          </a:p>
        </p:txBody>
      </p:sp>
      <p:grpSp>
        <p:nvGrpSpPr>
          <p:cNvPr id="10" name="Group 9">
            <a:extLst>
              <a:ext uri="{FF2B5EF4-FFF2-40B4-BE49-F238E27FC236}">
                <a16:creationId xmlns:a16="http://schemas.microsoft.com/office/drawing/2014/main" id="{665BE2A4-4ACC-4E54-9A85-77DFC7F65F01}"/>
              </a:ext>
            </a:extLst>
          </p:cNvPr>
          <p:cNvGrpSpPr>
            <a:grpSpLocks noChangeAspect="1"/>
          </p:cNvGrpSpPr>
          <p:nvPr userDrawn="1"/>
        </p:nvGrpSpPr>
        <p:grpSpPr>
          <a:xfrm>
            <a:off x="9161718" y="5747778"/>
            <a:ext cx="2231297" cy="501650"/>
            <a:chOff x="9550400" y="612775"/>
            <a:chExt cx="2231297" cy="501650"/>
          </a:xfrm>
        </p:grpSpPr>
        <p:sp>
          <p:nvSpPr>
            <p:cNvPr id="11" name="Freeform: Shape 10">
              <a:extLst>
                <a:ext uri="{FF2B5EF4-FFF2-40B4-BE49-F238E27FC236}">
                  <a16:creationId xmlns:a16="http://schemas.microsoft.com/office/drawing/2014/main" id="{0CE61B69-C06F-4D0A-9437-BC399186700C}"/>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6F08509-FA85-4193-A497-0E692E886745}"/>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A40793F6-8550-4F9A-98A1-4BD1C63DE3E6}"/>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AF68DDBF-3EE2-4BFD-9E41-A500A2DB8E18}"/>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F22E4E1F-DFDD-4EF6-8781-D2EC7D60F89D}"/>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41133160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nchor="ctr" anchorCtr="0"/>
          <a:lstStyle>
            <a:lvl1pPr>
              <a:defRPr sz="2400">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236549210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1_Conclusion">
    <p:bg>
      <p:bgPr>
        <a:solidFill>
          <a:schemeClr val="accent4"/>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ck to </a:t>
            </a:r>
            <a:r>
              <a:rPr lang="fr-FR" err="1"/>
              <a:t>edit</a:t>
            </a:r>
            <a:r>
              <a:rPr lang="fr-FR"/>
              <a:t> master </a:t>
            </a:r>
            <a:r>
              <a:rPr lang="fr-FR" err="1"/>
              <a:t>title</a:t>
            </a:r>
            <a:r>
              <a:rPr lang="fr-FR"/>
              <a:t> Style</a:t>
            </a:r>
          </a:p>
        </p:txBody>
      </p:sp>
      <p:grpSp>
        <p:nvGrpSpPr>
          <p:cNvPr id="2" name="Group 1">
            <a:extLst>
              <a:ext uri="{FF2B5EF4-FFF2-40B4-BE49-F238E27FC236}">
                <a16:creationId xmlns:a16="http://schemas.microsoft.com/office/drawing/2014/main" id="{D5EC1CE0-E890-6F27-EC37-CCBB63335D47}"/>
              </a:ext>
            </a:extLst>
          </p:cNvPr>
          <p:cNvGrpSpPr>
            <a:grpSpLocks noChangeAspect="1"/>
          </p:cNvGrpSpPr>
          <p:nvPr userDrawn="1"/>
        </p:nvGrpSpPr>
        <p:grpSpPr>
          <a:xfrm>
            <a:off x="443236" y="6021288"/>
            <a:ext cx="1872000" cy="420870"/>
            <a:chOff x="5095385" y="4090756"/>
            <a:chExt cx="3033729" cy="682053"/>
          </a:xfrm>
        </p:grpSpPr>
        <p:sp>
          <p:nvSpPr>
            <p:cNvPr id="6" name="Freeform: Shape 2">
              <a:extLst>
                <a:ext uri="{FF2B5EF4-FFF2-40B4-BE49-F238E27FC236}">
                  <a16:creationId xmlns:a16="http://schemas.microsoft.com/office/drawing/2014/main" id="{FC1EFD8E-6111-C0FE-F23B-7FCABA181AFF}"/>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1" name="Freeform: Shape 3">
              <a:extLst>
                <a:ext uri="{FF2B5EF4-FFF2-40B4-BE49-F238E27FC236}">
                  <a16:creationId xmlns:a16="http://schemas.microsoft.com/office/drawing/2014/main" id="{2E0336C3-FD2D-34F2-37FE-01F1463B9B1A}"/>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4">
              <a:extLst>
                <a:ext uri="{FF2B5EF4-FFF2-40B4-BE49-F238E27FC236}">
                  <a16:creationId xmlns:a16="http://schemas.microsoft.com/office/drawing/2014/main" id="{BCC79B1A-4DEF-2D28-22B2-7BFA7646E1A5}"/>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14">
              <a:extLst>
                <a:ext uri="{FF2B5EF4-FFF2-40B4-BE49-F238E27FC236}">
                  <a16:creationId xmlns:a16="http://schemas.microsoft.com/office/drawing/2014/main" id="{95610CD6-85BD-3AFA-95C6-25178AB66F0D}"/>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4" name="Freeform: Shape 20">
              <a:extLst>
                <a:ext uri="{FF2B5EF4-FFF2-40B4-BE49-F238E27FC236}">
                  <a16:creationId xmlns:a16="http://schemas.microsoft.com/office/drawing/2014/main" id="{DE7326A8-CE97-C71F-CFF8-B35813A22238}"/>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33375850"/>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7_Title Only Grey">
    <p:bg>
      <p:bgPr>
        <a:solidFill>
          <a:schemeClr val="accent4"/>
        </a:solidFill>
        <a:effectLst/>
      </p:bgPr>
    </p:bg>
    <p:spTree>
      <p:nvGrpSpPr>
        <p:cNvPr id="1" name=""/>
        <p:cNvGrpSpPr/>
        <p:nvPr/>
      </p:nvGrpSpPr>
      <p:grpSpPr>
        <a:xfrm>
          <a:off x="0" y="0"/>
          <a:ext cx="0" cy="0"/>
          <a:chOff x="0" y="0"/>
          <a:chExt cx="0" cy="0"/>
        </a:xfrm>
      </p:grpSpPr>
      <p:pic>
        <p:nvPicPr>
          <p:cNvPr id="4" name="Picture 3" descr="A person holding a tablet&#10;&#10;Description automatically generated">
            <a:extLst>
              <a:ext uri="{FF2B5EF4-FFF2-40B4-BE49-F238E27FC236}">
                <a16:creationId xmlns:a16="http://schemas.microsoft.com/office/drawing/2014/main" id="{B8A20434-E2E2-6332-1000-A13243979C8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560"/>
            <a:ext cx="12192000" cy="6832879"/>
          </a:xfrm>
          <a:prstGeom prst="rect">
            <a:avLst/>
          </a:prstGeom>
        </p:spPr>
      </p:pic>
      <p:sp>
        <p:nvSpPr>
          <p:cNvPr id="5" name="Rectangle 4">
            <a:extLst>
              <a:ext uri="{FF2B5EF4-FFF2-40B4-BE49-F238E27FC236}">
                <a16:creationId xmlns:a16="http://schemas.microsoft.com/office/drawing/2014/main" id="{2CAEE353-4DBB-B73A-D865-24FCCEBF9FA2}"/>
              </a:ext>
            </a:extLst>
          </p:cNvPr>
          <p:cNvSpPr/>
          <p:nvPr userDrawn="1"/>
        </p:nvSpPr>
        <p:spPr>
          <a:xfrm>
            <a:off x="0" y="12560"/>
            <a:ext cx="12192000" cy="6832879"/>
          </a:xfrm>
          <a:prstGeom prst="rect">
            <a:avLst/>
          </a:prstGeom>
          <a:solidFill>
            <a:schemeClr val="accent4">
              <a:alpha val="87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sp>
        <p:nvSpPr>
          <p:cNvPr id="9" name="Rectangle 27">
            <a:extLst>
              <a:ext uri="{FF2B5EF4-FFF2-40B4-BE49-F238E27FC236}">
                <a16:creationId xmlns:a16="http://schemas.microsoft.com/office/drawing/2014/main" id="{4505EAD9-B707-8942-AC5E-60882DCB875B}"/>
              </a:ext>
            </a:extLst>
          </p:cNvPr>
          <p:cNvSpPr/>
          <p:nvPr userDrawn="1"/>
        </p:nvSpPr>
        <p:spPr>
          <a:xfrm>
            <a:off x="713182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chemeClr val="bg1">
                    <a:lumMod val="65000"/>
                  </a:schemeClr>
                </a:solidFill>
                <a:latin typeface="+mn-lt"/>
                <a:cs typeface="Arial" panose="020B0604020202020204" pitchFamily="34" charset="0"/>
              </a:rPr>
              <a:t>Company Confidential © Capgemini 2024. All rights reserved  |</a:t>
            </a:r>
          </a:p>
        </p:txBody>
      </p:sp>
      <p:sp>
        <p:nvSpPr>
          <p:cNvPr id="10" name="Rectangle 43">
            <a:extLst>
              <a:ext uri="{FF2B5EF4-FFF2-40B4-BE49-F238E27FC236}">
                <a16:creationId xmlns:a16="http://schemas.microsoft.com/office/drawing/2014/main" id="{B640CA27-EBFC-DECF-F4E8-2478C8704DFE}"/>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42030027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ext Placeholder 25">
            <a:extLst>
              <a:ext uri="{FF2B5EF4-FFF2-40B4-BE49-F238E27FC236}">
                <a16:creationId xmlns:a16="http://schemas.microsoft.com/office/drawing/2014/main" id="{816EBCB1-EDB7-8547-BA8B-450ADBE157E6}"/>
              </a:ext>
            </a:extLst>
          </p:cNvPr>
          <p:cNvSpPr>
            <a:spLocks noGrp="1"/>
          </p:cNvSpPr>
          <p:nvPr>
            <p:ph type="body" sz="quarter" idx="10" hasCustomPrompt="1"/>
          </p:nvPr>
        </p:nvSpPr>
        <p:spPr>
          <a:xfrm>
            <a:off x="393038" y="778052"/>
            <a:ext cx="3074987" cy="194301"/>
          </a:xfrm>
        </p:spPr>
        <p:txBody>
          <a:bodyPr>
            <a:normAutofit/>
          </a:bodyPr>
          <a:lstStyle>
            <a:lvl1pPr>
              <a:defRPr sz="1200"/>
            </a:lvl1pPr>
          </a:lstStyle>
          <a:p>
            <a:pPr lvl="0"/>
            <a:r>
              <a:rPr lang="en-GB"/>
              <a:t>CLICK TO EDIT</a:t>
            </a:r>
            <a:endParaRPr lang="en-PL"/>
          </a:p>
        </p:txBody>
      </p:sp>
      <p:sp>
        <p:nvSpPr>
          <p:cNvPr id="8" name="Text Placeholder 7">
            <a:extLst>
              <a:ext uri="{FF2B5EF4-FFF2-40B4-BE49-F238E27FC236}">
                <a16:creationId xmlns:a16="http://schemas.microsoft.com/office/drawing/2014/main" id="{5ED334F2-B89C-B941-B78E-BBCBB9E65D9E}"/>
              </a:ext>
            </a:extLst>
          </p:cNvPr>
          <p:cNvSpPr>
            <a:spLocks noGrp="1"/>
          </p:cNvSpPr>
          <p:nvPr>
            <p:ph type="body" sz="quarter" idx="11" hasCustomPrompt="1"/>
          </p:nvPr>
        </p:nvSpPr>
        <p:spPr>
          <a:xfrm>
            <a:off x="404813" y="1125538"/>
            <a:ext cx="4538662" cy="1897062"/>
          </a:xfrm>
        </p:spPr>
        <p:txBody>
          <a:bodyPr>
            <a:noAutofit/>
          </a:bodyPr>
          <a:lstStyle>
            <a:lvl1pPr>
              <a:lnSpc>
                <a:spcPct val="70000"/>
              </a:lnSpc>
              <a:spcAft>
                <a:spcPts val="0"/>
              </a:spcAft>
              <a:defRPr kumimoji="0" lang="en-GB" sz="3600" b="0" i="0" u="none" strike="noStrike" kern="1200" cap="none" spc="0" normalizeH="0" baseline="0">
                <a:ln>
                  <a:noFill/>
                </a:ln>
                <a:solidFill>
                  <a:srgbClr val="0070AD"/>
                </a:solidFill>
                <a:effectLst/>
                <a:uLnTx/>
                <a:uFillTx/>
                <a:latin typeface="+mj-lt"/>
                <a:ea typeface="+mn-ea"/>
                <a:cs typeface="+mn-cs"/>
              </a:defRPr>
            </a:lvl1pPr>
          </a:lstStyle>
          <a:p>
            <a:pPr lvl="0"/>
            <a:r>
              <a:rPr lang="en-GB"/>
              <a:t>CLICK TO EDIT MASTER TEXT STYLES</a:t>
            </a:r>
          </a:p>
        </p:txBody>
      </p:sp>
    </p:spTree>
    <p:extLst>
      <p:ext uri="{BB962C8B-B14F-4D97-AF65-F5344CB8AC3E}">
        <p14:creationId xmlns:p14="http://schemas.microsoft.com/office/powerpoint/2010/main" val="9948652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5" Type="http://schemas.openxmlformats.org/officeDocument/2006/relationships/slideLayout" Target="../slideLayouts/slideLayout72.xml"/><Relationship Id="rId4" Type="http://schemas.openxmlformats.org/officeDocument/2006/relationships/slideLayout" Target="../slideLayouts/slideLayout71.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theme" Target="../theme/theme4.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theme" Target="../theme/theme5.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2" Type="http://schemas.openxmlformats.org/officeDocument/2006/relationships/slideLayout" Target="../slideLayouts/slideLayout101.xml"/><Relationship Id="rId16" Type="http://schemas.openxmlformats.org/officeDocument/2006/relationships/image" Target="../media/image14.emf"/><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oleObject" Target="../embeddings/oleObject5.bin"/><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tags" Target="../tags/tag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theme" Target="../theme/theme6.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Grp="1" noRot="1" noChangeAspect="1" noMove="1" noResize="1" noEditPoints="1" noAdjustHandles="1" noChangeArrowheads="1" noChangeShapeType="1" noCrop="1"/>
          </p:cNvPicPr>
          <p:nvPr userDrawn="1"/>
        </p:nvPicPr>
        <p:blipFill>
          <a:blip r:embed="rId48" cstate="screen">
            <a:extLst>
              <a:ext uri="{28A0092B-C50C-407E-A947-70E740481C1C}">
                <a14:useLocalDpi xmlns:a14="http://schemas.microsoft.com/office/drawing/2010/main"/>
              </a:ext>
            </a:extLst>
          </a:blip>
          <a:stretch>
            <a:fillRect/>
          </a:stretch>
        </p:blipFill>
        <p:spPr>
          <a:xfrm>
            <a:off x="414971" y="388938"/>
            <a:ext cx="11369040" cy="6067248"/>
          </a:xfrm>
          <a:prstGeom prst="rect">
            <a:avLst/>
          </a:prstGeom>
        </p:spPr>
      </p:pic>
      <p:sp>
        <p:nvSpPr>
          <p:cNvPr id="4" name="Text Placeholder 1"/>
          <p:cNvSpPr>
            <a:spLocks noGrp="1"/>
          </p:cNvSpPr>
          <p:nvPr>
            <p:ph type="body" idx="1"/>
          </p:nvPr>
        </p:nvSpPr>
        <p:spPr>
          <a:xfrm>
            <a:off x="407988" y="1628800"/>
            <a:ext cx="11369040" cy="4829080"/>
          </a:xfrm>
          <a:prstGeom prst="rect">
            <a:avLst/>
          </a:prstGeom>
        </p:spPr>
        <p:txBody>
          <a:bodyPr vert="horz" lIns="0" tIns="0" rIns="0" bIns="0" rtlCol="0">
            <a:noAutofit/>
          </a:bodyPr>
          <a:lstStyle/>
          <a:p>
            <a:pPr lvl="0"/>
            <a:r>
              <a:rPr lang="fr-FR"/>
              <a:t>Enter </a:t>
            </a:r>
            <a:r>
              <a:rPr lang="fr-FR" err="1"/>
              <a:t>your</a:t>
            </a:r>
            <a:r>
              <a:rPr lang="fr-FR"/>
              <a:t> contents</a:t>
            </a:r>
          </a:p>
          <a:p>
            <a:pPr lvl="1"/>
            <a:r>
              <a:rPr lang="fr-FR"/>
              <a:t>Second </a:t>
            </a:r>
            <a:r>
              <a:rPr lang="fr-FR" err="1"/>
              <a:t>level</a:t>
            </a:r>
            <a:endParaRPr lang="fr-FR"/>
          </a:p>
          <a:p>
            <a:pPr lvl="2"/>
            <a:r>
              <a:rPr lang="fr-FR" err="1"/>
              <a:t>Third</a:t>
            </a:r>
            <a:r>
              <a:rPr lang="fr-FR"/>
              <a:t> </a:t>
            </a:r>
            <a:r>
              <a:rPr lang="fr-FR" err="1"/>
              <a:t>level</a:t>
            </a:r>
            <a:endParaRPr lang="fr-FR"/>
          </a:p>
          <a:p>
            <a:pPr lvl="3"/>
            <a:r>
              <a:rPr lang="fr-FR" err="1"/>
              <a:t>Fourth</a:t>
            </a:r>
            <a:r>
              <a:rPr lang="fr-FR"/>
              <a:t> </a:t>
            </a:r>
            <a:r>
              <a:rPr lang="fr-FR" err="1"/>
              <a:t>level</a:t>
            </a:r>
            <a:endParaRPr lang="fr-FR"/>
          </a:p>
          <a:p>
            <a:pPr lvl="4"/>
            <a:r>
              <a:rPr lang="fr-FR" err="1"/>
              <a:t>Fifth</a:t>
            </a:r>
            <a:r>
              <a:rPr lang="fr-FR"/>
              <a:t> </a:t>
            </a:r>
            <a:r>
              <a:rPr lang="fr-FR" err="1"/>
              <a:t>level</a:t>
            </a:r>
            <a:endParaRPr lang="en-US"/>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414971" y="260350"/>
            <a:ext cx="11008413" cy="792163"/>
          </a:xfrm>
          <a:prstGeom prst="rect">
            <a:avLst/>
          </a:prstGeom>
        </p:spPr>
        <p:txBody>
          <a:bodyPr vert="horz" lIns="0" tIns="0" rIns="0" bIns="0" rtlCol="0" anchor="b" anchorCtr="0">
            <a:noAutofit/>
          </a:bodyPr>
          <a:lstStyle/>
          <a:p>
            <a:r>
              <a:rPr lang="fr-FR"/>
              <a:t>Modifiez le style du titre</a:t>
            </a:r>
            <a:endParaRPr lang="de-DE"/>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0979205" y="1068490"/>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Capgemini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398738"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a:t>	Source:	Source Text</a:t>
            </a:r>
          </a:p>
        </p:txBody>
      </p:sp>
      <p:sp>
        <p:nvSpPr>
          <p:cNvPr id="3" name="Rectangle 27">
            <a:extLst>
              <a:ext uri="{FF2B5EF4-FFF2-40B4-BE49-F238E27FC236}">
                <a16:creationId xmlns:a16="http://schemas.microsoft.com/office/drawing/2014/main" id="{62086BA9-1591-C6CD-E573-A5F8961683B1}"/>
              </a:ext>
            </a:extLst>
          </p:cNvPr>
          <p:cNvSpPr/>
          <p:nvPr userDrawn="1"/>
        </p:nvSpPr>
        <p:spPr>
          <a:xfrm>
            <a:off x="40683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chemeClr val="bg1">
                    <a:lumMod val="65000"/>
                  </a:schemeClr>
                </a:solidFill>
                <a:latin typeface="+mn-lt"/>
                <a:cs typeface="Arial" panose="020B0604020202020204" pitchFamily="34" charset="0"/>
              </a:rPr>
              <a:t>Presentation Title  |  Author  |  Date</a:t>
            </a:r>
          </a:p>
        </p:txBody>
      </p:sp>
      <p:sp>
        <p:nvSpPr>
          <p:cNvPr id="6" name="Rectangle 27">
            <a:extLst>
              <a:ext uri="{FF2B5EF4-FFF2-40B4-BE49-F238E27FC236}">
                <a16:creationId xmlns:a16="http://schemas.microsoft.com/office/drawing/2014/main" id="{C7A3A5DA-5BBD-64D1-6DE2-E0F6859C58F2}"/>
              </a:ext>
            </a:extLst>
          </p:cNvPr>
          <p:cNvSpPr/>
          <p:nvPr userDrawn="1"/>
        </p:nvSpPr>
        <p:spPr>
          <a:xfrm>
            <a:off x="713182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chemeClr val="bg1">
                    <a:lumMod val="65000"/>
                  </a:schemeClr>
                </a:solidFill>
                <a:latin typeface="+mn-lt"/>
                <a:cs typeface="Arial" panose="020B0604020202020204" pitchFamily="34" charset="0"/>
              </a:rPr>
              <a:t>Company Confidential © Capgemini 2024. All rights reserved  |</a:t>
            </a:r>
          </a:p>
        </p:txBody>
      </p:sp>
      <p:sp>
        <p:nvSpPr>
          <p:cNvPr id="7" name="Rectangle 43">
            <a:extLst>
              <a:ext uri="{FF2B5EF4-FFF2-40B4-BE49-F238E27FC236}">
                <a16:creationId xmlns:a16="http://schemas.microsoft.com/office/drawing/2014/main" id="{5A64C6D2-B9B0-18AF-749A-15AAED7E4993}"/>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2769395808"/>
      </p:ext>
    </p:extLst>
  </p:cSld>
  <p:clrMap bg1="lt1" tx1="dk1" bg2="lt2" tx2="dk2" accent1="accent1" accent2="accent2" accent3="accent3" accent4="accent4" accent5="accent5" accent6="accent6" hlink="hlink" folHlink="folHlink"/>
  <p:sldLayoutIdLst>
    <p:sldLayoutId id="2147484201" r:id="rId1"/>
    <p:sldLayoutId id="2147484202" r:id="rId2"/>
    <p:sldLayoutId id="2147484203" r:id="rId3"/>
    <p:sldLayoutId id="2147484204" r:id="rId4"/>
    <p:sldLayoutId id="2147484205" r:id="rId5"/>
    <p:sldLayoutId id="2147484206" r:id="rId6"/>
    <p:sldLayoutId id="2147484207" r:id="rId7"/>
    <p:sldLayoutId id="2147484208" r:id="rId8"/>
    <p:sldLayoutId id="2147484209" r:id="rId9"/>
    <p:sldLayoutId id="2147484210" r:id="rId10"/>
    <p:sldLayoutId id="2147484211" r:id="rId11"/>
    <p:sldLayoutId id="2147484212" r:id="rId12"/>
    <p:sldLayoutId id="2147484213" r:id="rId13"/>
    <p:sldLayoutId id="2147484214" r:id="rId14"/>
    <p:sldLayoutId id="2147484215" r:id="rId15"/>
    <p:sldLayoutId id="2147484216" r:id="rId16"/>
    <p:sldLayoutId id="2147484217" r:id="rId17"/>
    <p:sldLayoutId id="2147484218" r:id="rId18"/>
    <p:sldLayoutId id="2147484219" r:id="rId19"/>
    <p:sldLayoutId id="2147484220" r:id="rId20"/>
    <p:sldLayoutId id="2147484221" r:id="rId21"/>
    <p:sldLayoutId id="2147484222" r:id="rId22"/>
    <p:sldLayoutId id="2147484223" r:id="rId23"/>
    <p:sldLayoutId id="2147484224" r:id="rId24"/>
    <p:sldLayoutId id="2147484225" r:id="rId25"/>
    <p:sldLayoutId id="2147484226" r:id="rId26"/>
    <p:sldLayoutId id="2147484227" r:id="rId27"/>
    <p:sldLayoutId id="2147484228" r:id="rId28"/>
    <p:sldLayoutId id="2147484229" r:id="rId29"/>
    <p:sldLayoutId id="2147484230" r:id="rId30"/>
    <p:sldLayoutId id="2147484231" r:id="rId31"/>
    <p:sldLayoutId id="2147484232" r:id="rId32"/>
    <p:sldLayoutId id="2147484233" r:id="rId33"/>
    <p:sldLayoutId id="2147484234" r:id="rId34"/>
    <p:sldLayoutId id="2147484235" r:id="rId35"/>
    <p:sldLayoutId id="2147484236" r:id="rId36"/>
    <p:sldLayoutId id="2147484237" r:id="rId37"/>
    <p:sldLayoutId id="2147484238" r:id="rId38"/>
    <p:sldLayoutId id="2147484239" r:id="rId39"/>
    <p:sldLayoutId id="2147484240" r:id="rId40"/>
    <p:sldLayoutId id="2147484241" r:id="rId41"/>
    <p:sldLayoutId id="2147484242" r:id="rId42"/>
    <p:sldLayoutId id="2147484243" r:id="rId43"/>
    <p:sldLayoutId id="2147484244" r:id="rId44"/>
    <p:sldLayoutId id="2147484245" r:id="rId45"/>
    <p:sldLayoutId id="2147484269" r:id="rId46"/>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663">
          <p15:clr>
            <a:srgbClr val="F26B43"/>
          </p15:clr>
        </p15:guide>
        <p15:guide id="19" orient="horz" pos="4320">
          <p15:clr>
            <a:srgbClr val="F26B43"/>
          </p15:clr>
        </p15:guide>
        <p15:guide id="20" pos="257">
          <p15:clr>
            <a:srgbClr val="F26B43"/>
          </p15:clr>
        </p15:guide>
        <p15:guide id="21" pos="3840">
          <p15:clr>
            <a:srgbClr val="F26B43"/>
          </p15:clr>
        </p15:guide>
        <p15:guide id="22" pos="7423">
          <p15:clr>
            <a:srgbClr val="F26B43"/>
          </p15:clr>
        </p15:guide>
        <p15:guide id="23" orient="horz" pos="255">
          <p15:clr>
            <a:srgbClr val="F26B43"/>
          </p15:clr>
        </p15:guide>
        <p15:guide id="24" orient="horz" pos="1026">
          <p15:clr>
            <a:srgbClr val="F26B43"/>
          </p15:clr>
        </p15:guide>
        <p15:guide id="26" orient="horz" pos="4065">
          <p15:clr>
            <a:srgbClr val="F26B43"/>
          </p15:clr>
        </p15:guide>
        <p15:guide id="27"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3.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2829078122"/>
      </p:ext>
    </p:extLst>
  </p:cSld>
  <p:clrMap bg1="lt1" tx1="dk1" bg2="lt2" tx2="dk2" accent1="accent1" accent2="accent2" accent3="accent3" accent4="accent4" accent5="accent5" accent6="accent6" hlink="hlink" folHlink="folHlink"/>
  <p:sldLayoutIdLst>
    <p:sldLayoutId id="2147484247" r:id="rId1"/>
    <p:sldLayoutId id="2147484248" r:id="rId2"/>
    <p:sldLayoutId id="2147484249" r:id="rId3"/>
    <p:sldLayoutId id="2147484250" r:id="rId4"/>
    <p:sldLayoutId id="2147484251" r:id="rId5"/>
    <p:sldLayoutId id="2147484252" r:id="rId6"/>
    <p:sldLayoutId id="2147484253" r:id="rId7"/>
    <p:sldLayoutId id="2147484254" r:id="rId8"/>
    <p:sldLayoutId id="2147484255" r:id="rId9"/>
    <p:sldLayoutId id="2147484256" r:id="rId10"/>
    <p:sldLayoutId id="2147484257" r:id="rId11"/>
    <p:sldLayoutId id="2147484258" r:id="rId12"/>
    <p:sldLayoutId id="2147484259" r:id="rId13"/>
    <p:sldLayoutId id="2147484260" r:id="rId14"/>
    <p:sldLayoutId id="2147484261" r:id="rId15"/>
    <p:sldLayoutId id="2147484262" r:id="rId16"/>
    <p:sldLayoutId id="2147484263" r:id="rId17"/>
    <p:sldLayoutId id="2147484264" r:id="rId18"/>
    <p:sldLayoutId id="2147484265" r:id="rId19"/>
    <p:sldLayoutId id="2147484266" r:id="rId20"/>
    <p:sldLayoutId id="2147484267"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Generative AI x CX</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11" name="Rectangle 27">
            <a:extLst>
              <a:ext uri="{FF2B5EF4-FFF2-40B4-BE49-F238E27FC236}">
                <a16:creationId xmlns:a16="http://schemas.microsoft.com/office/drawing/2014/main" id="{050D47A0-4AC1-44D4-B74A-452A56DAF32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A6A6A6"/>
                </a:solidFill>
                <a:latin typeface="Ubuntu" panose="020B0504030602030204" pitchFamily="34" charset="0"/>
                <a:cs typeface="Arial" panose="020B0604020202020204" pitchFamily="34" charset="0"/>
              </a:rPr>
              <a:t>Company Confidential © Capgemini 2023. All rights reserved  |</a:t>
            </a:r>
            <a:endParaRPr lang="en-GB" sz="70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918625893"/>
      </p:ext>
    </p:extLst>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7" r:id="rId7"/>
    <p:sldLayoutId id="2147484278" r:id="rId8"/>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bg1"/>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3.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826663260"/>
      </p:ext>
    </p:extLst>
  </p:cSld>
  <p:clrMap bg1="lt1" tx1="dk1" bg2="lt2" tx2="dk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2" r:id="rId22"/>
    <p:sldLayoutId id="2147484303" r:id="rId23"/>
    <p:sldLayoutId id="2147484304" r:id="rId24"/>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21" name="Object 20"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7" name="TextBox 6">
            <a:extLst>
              <a:ext uri="{FF2B5EF4-FFF2-40B4-BE49-F238E27FC236}">
                <a16:creationId xmlns:a16="http://schemas.microsoft.com/office/drawing/2014/main" id="{3803C1ED-3217-DD98-600A-40129A8D785B}"/>
              </a:ext>
            </a:extLst>
          </p:cNvPr>
          <p:cNvSpPr txBox="1"/>
          <p:nvPr userDrawn="1"/>
        </p:nvSpPr>
        <p:spPr>
          <a:xfrm>
            <a:off x="6005513" y="6473711"/>
            <a:ext cx="3424526" cy="307777"/>
          </a:xfrm>
          <a:prstGeom prst="rect">
            <a:avLst/>
          </a:prstGeom>
          <a:noFill/>
        </p:spPr>
        <p:txBody>
          <a:bodyPr wrap="square" rtlCol="0">
            <a:spAutoFit/>
          </a:bodyPr>
          <a:lstStyle/>
          <a:p>
            <a:pPr algn="ctr"/>
            <a:r>
              <a:rPr lang="en-IN" sz="1400">
                <a:solidFill>
                  <a:schemeClr val="accent1"/>
                </a:solidFill>
              </a:rPr>
              <a:t>Powered by Gen AI For CX Foundry</a:t>
            </a:r>
          </a:p>
        </p:txBody>
      </p:sp>
      <p:sp>
        <p:nvSpPr>
          <p:cNvPr id="8" name="Rectangle 27">
            <a:extLst>
              <a:ext uri="{FF2B5EF4-FFF2-40B4-BE49-F238E27FC236}">
                <a16:creationId xmlns:a16="http://schemas.microsoft.com/office/drawing/2014/main" id="{AB603691-E13E-5E48-42C2-2A981AD6FCE2}"/>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Restricted © Capgemini 2023. All rights reserved  |</a:t>
            </a:r>
          </a:p>
        </p:txBody>
      </p:sp>
      <p:sp>
        <p:nvSpPr>
          <p:cNvPr id="10" name="Rectangle 43">
            <a:extLst>
              <a:ext uri="{FF2B5EF4-FFF2-40B4-BE49-F238E27FC236}">
                <a16:creationId xmlns:a16="http://schemas.microsoft.com/office/drawing/2014/main" id="{28C53E02-4FE4-0A83-632C-ED0F34300E8A}"/>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656532278"/>
      </p:ext>
    </p:extLst>
  </p:cSld>
  <p:clrMap bg1="lt1" tx1="dk1" bg2="lt2" tx2="dk2" accent1="accent1" accent2="accent2" accent3="accent3" accent4="accent4" accent5="accent5" accent6="accent6" hlink="hlink" folHlink="folHlink"/>
  <p:sldLayoutIdLst>
    <p:sldLayoutId id="2147484306" r:id="rId1"/>
    <p:sldLayoutId id="2147484307" r:id="rId2"/>
    <p:sldLayoutId id="2147484309" r:id="rId3"/>
    <p:sldLayoutId id="2147484310" r:id="rId4"/>
    <p:sldLayoutId id="2147484311" r:id="rId5"/>
    <p:sldLayoutId id="2147484312" r:id="rId6"/>
    <p:sldLayoutId id="2147484313" r:id="rId7"/>
    <p:sldLayoutId id="2147484314" r:id="rId8"/>
    <p:sldLayoutId id="2147484315" r:id="rId9"/>
    <p:sldLayoutId id="2147484316" r:id="rId10"/>
    <p:sldLayoutId id="2147484317" r:id="rId11"/>
    <p:sldLayoutId id="2147484318" r:id="rId12"/>
  </p:sldLayoutIdLst>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5BFB69-9245-EC58-F1DE-FEB625BD336A}"/>
              </a:ext>
            </a:extLst>
          </p:cNvPr>
          <p:cNvSpPr>
            <a:spLocks noGrp="1"/>
          </p:cNvSpPr>
          <p:nvPr>
            <p:ph type="title"/>
          </p:nvPr>
        </p:nvSpPr>
        <p:spPr>
          <a:xfrm>
            <a:off x="612648" y="548640"/>
            <a:ext cx="10653578" cy="1132258"/>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5516AFD5-5144-C460-0CA4-644BC4A93C02}"/>
              </a:ext>
            </a:extLst>
          </p:cNvPr>
          <p:cNvSpPr>
            <a:spLocks noGrp="1"/>
          </p:cNvSpPr>
          <p:nvPr>
            <p:ph type="body" idx="1"/>
          </p:nvPr>
        </p:nvSpPr>
        <p:spPr>
          <a:xfrm>
            <a:off x="612647" y="1715532"/>
            <a:ext cx="10653579" cy="459382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95753E-AF8A-7E04-8A1A-205B755A0215}"/>
              </a:ext>
            </a:extLst>
          </p:cNvPr>
          <p:cNvSpPr>
            <a:spLocks noGrp="1"/>
          </p:cNvSpPr>
          <p:nvPr>
            <p:ph type="dt" sz="half" idx="2"/>
          </p:nvPr>
        </p:nvSpPr>
        <p:spPr>
          <a:xfrm>
            <a:off x="137160" y="6453002"/>
            <a:ext cx="3494314" cy="365125"/>
          </a:xfrm>
          <a:prstGeom prst="rect">
            <a:avLst/>
          </a:prstGeom>
        </p:spPr>
        <p:txBody>
          <a:bodyPr vert="horz" lIns="91440" tIns="45720" rIns="91440" bIns="45720" rtlCol="0" anchor="ctr"/>
          <a:lstStyle>
            <a:lvl1pPr algn="l">
              <a:defRPr sz="900">
                <a:solidFill>
                  <a:schemeClr val="tx1"/>
                </a:solidFill>
              </a:defRPr>
            </a:lvl1pPr>
          </a:lstStyle>
          <a:p>
            <a:fld id="{67F45AC6-C491-4585-A584-9CE2AF7D5500}" type="datetime1">
              <a:rPr lang="en-US" smtClean="0"/>
              <a:t>6/25/2025</a:t>
            </a:fld>
            <a:endParaRPr lang="en-US"/>
          </a:p>
        </p:txBody>
      </p:sp>
      <p:sp>
        <p:nvSpPr>
          <p:cNvPr id="5" name="Footer Placeholder 4">
            <a:extLst>
              <a:ext uri="{FF2B5EF4-FFF2-40B4-BE49-F238E27FC236}">
                <a16:creationId xmlns:a16="http://schemas.microsoft.com/office/drawing/2014/main" id="{D4E1B7C8-DA74-800B-EE14-A39E9DB32DE4}"/>
              </a:ext>
            </a:extLst>
          </p:cNvPr>
          <p:cNvSpPr>
            <a:spLocks noGrp="1"/>
          </p:cNvSpPr>
          <p:nvPr>
            <p:ph type="ftr" sz="quarter" idx="3"/>
          </p:nvPr>
        </p:nvSpPr>
        <p:spPr>
          <a:xfrm>
            <a:off x="8876521" y="6453002"/>
            <a:ext cx="2805405" cy="365125"/>
          </a:xfrm>
          <a:prstGeom prst="rect">
            <a:avLst/>
          </a:prstGeom>
        </p:spPr>
        <p:txBody>
          <a:bodyPr vert="horz" lIns="91440" tIns="45720" rIns="91440" bIns="45720" rtlCol="0" anchor="ctr"/>
          <a:lstStyle>
            <a:lvl1pPr algn="r">
              <a:defRPr sz="90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7AC1647D-0DF0-CA1B-F723-EF7B8F508DB7}"/>
              </a:ext>
            </a:extLst>
          </p:cNvPr>
          <p:cNvSpPr>
            <a:spLocks noGrp="1"/>
          </p:cNvSpPr>
          <p:nvPr>
            <p:ph type="sldNum" sz="quarter" idx="4"/>
          </p:nvPr>
        </p:nvSpPr>
        <p:spPr>
          <a:xfrm>
            <a:off x="11632162" y="6453002"/>
            <a:ext cx="429207" cy="365125"/>
          </a:xfrm>
          <a:prstGeom prst="rect">
            <a:avLst/>
          </a:prstGeom>
        </p:spPr>
        <p:txBody>
          <a:bodyPr vert="horz" lIns="91440" tIns="45720" rIns="91440" bIns="45720" rtlCol="0" anchor="ctr"/>
          <a:lstStyle>
            <a:lvl1pPr algn="r">
              <a:defRPr sz="900">
                <a:solidFill>
                  <a:schemeClr val="tx1"/>
                </a:solidFill>
              </a:defRPr>
            </a:lvl1pPr>
          </a:lstStyle>
          <a:p>
            <a:fld id="{CC057153-B650-4DEB-B370-79DDCFDCE934}" type="slidenum">
              <a:rPr lang="en-US" smtClean="0"/>
              <a:t>‹#›</a:t>
            </a:fld>
            <a:endParaRPr lang="en-US"/>
          </a:p>
        </p:txBody>
      </p:sp>
    </p:spTree>
    <p:extLst>
      <p:ext uri="{BB962C8B-B14F-4D97-AF65-F5344CB8AC3E}">
        <p14:creationId xmlns:p14="http://schemas.microsoft.com/office/powerpoint/2010/main" val="3391945682"/>
      </p:ext>
    </p:extLst>
  </p:cSld>
  <p:clrMap bg1="lt1" tx1="dk1" bg2="lt2" tx2="dk2" accent1="accent1" accent2="accent2" accent3="accent3" accent4="accent4" accent5="accent5" accent6="accent6" hlink="hlink" folHlink="folHlink"/>
  <p:sldLayoutIdLst>
    <p:sldLayoutId id="2147484335" r:id="rId1"/>
    <p:sldLayoutId id="2147484336" r:id="rId2"/>
    <p:sldLayoutId id="2147484337" r:id="rId3"/>
    <p:sldLayoutId id="2147484338" r:id="rId4"/>
    <p:sldLayoutId id="2147484339" r:id="rId5"/>
    <p:sldLayoutId id="2147484340" r:id="rId6"/>
    <p:sldLayoutId id="2147484341" r:id="rId7"/>
    <p:sldLayoutId id="2147484342" r:id="rId8"/>
    <p:sldLayoutId id="2147484343" r:id="rId9"/>
    <p:sldLayoutId id="2147484344" r:id="rId10"/>
    <p:sldLayoutId id="2147484345" r:id="rId11"/>
    <p:sldLayoutId id="2147484346" r:id="rId12"/>
  </p:sldLayoutIdLst>
  <p:hf sldNum="0" hdr="0" ft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2pPr>
      <a:lvl3pPr marL="6858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3pPr>
      <a:lvl4pPr marL="9144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4pPr>
      <a:lvl5pPr marL="11430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5.xml"/><Relationship Id="rId1" Type="http://schemas.openxmlformats.org/officeDocument/2006/relationships/slideLayout" Target="../slideLayouts/slideLayout115.xml"/><Relationship Id="rId4" Type="http://schemas.openxmlformats.org/officeDocument/2006/relationships/image" Target="../media/image69.png"/></Relationships>
</file>

<file path=ppt/slides/_rels/slide1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hyperlink" Target="https://github.com/signup" TargetMode="External"/><Relationship Id="rId1" Type="http://schemas.openxmlformats.org/officeDocument/2006/relationships/slideLayout" Target="../slideLayouts/slideLayout115.xml"/><Relationship Id="rId5" Type="http://schemas.openxmlformats.org/officeDocument/2006/relationships/image" Target="../media/image69.png"/><Relationship Id="rId4" Type="http://schemas.openxmlformats.org/officeDocument/2006/relationships/image" Target="../media/image72.png"/></Relationships>
</file>

<file path=ppt/slides/_rels/slide1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5.xml"/></Relationships>
</file>

<file path=ppt/slides/_rels/slide13.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6.xml"/><Relationship Id="rId1" Type="http://schemas.openxmlformats.org/officeDocument/2006/relationships/slideLayout" Target="../slideLayouts/slideLayout115.xml"/><Relationship Id="rId4" Type="http://schemas.openxmlformats.org/officeDocument/2006/relationships/image" Target="../media/image69.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5.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svg"/><Relationship Id="rId7" Type="http://schemas.openxmlformats.org/officeDocument/2006/relationships/image" Target="../media/image79.svg"/><Relationship Id="rId2" Type="http://schemas.openxmlformats.org/officeDocument/2006/relationships/image" Target="../media/image74.png"/><Relationship Id="rId1" Type="http://schemas.openxmlformats.org/officeDocument/2006/relationships/slideLayout" Target="../slideLayouts/slideLayout49.xml"/><Relationship Id="rId6" Type="http://schemas.openxmlformats.org/officeDocument/2006/relationships/image" Target="../media/image78.png"/><Relationship Id="rId5" Type="http://schemas.openxmlformats.org/officeDocument/2006/relationships/image" Target="../media/image77.svg"/><Relationship Id="rId4" Type="http://schemas.openxmlformats.org/officeDocument/2006/relationships/image" Target="../media/image76.png"/><Relationship Id="rId9" Type="http://schemas.openxmlformats.org/officeDocument/2006/relationships/image" Target="../media/image81.svg"/></Relationships>
</file>

<file path=ppt/slides/_rels/slide17.xml.rels><?xml version="1.0" encoding="UTF-8" standalone="yes"?>
<Relationships xmlns="http://schemas.openxmlformats.org/package/2006/relationships"><Relationship Id="rId3" Type="http://schemas.openxmlformats.org/officeDocument/2006/relationships/hyperlink" Target="https://trailhead.salesforce.com/content/learn/modules/einstein-for-developers/get-to-know-einstein-for-developers---" TargetMode="External"/><Relationship Id="rId2" Type="http://schemas.openxmlformats.org/officeDocument/2006/relationships/hyperlink" Target="https://developer.salesforce.com/docs/platform/einstein-for-devs/guide/einstein-setup.html" TargetMode="External"/><Relationship Id="rId1" Type="http://schemas.openxmlformats.org/officeDocument/2006/relationships/slideLayout" Target="../slideLayouts/slideLayout49.xml"/></Relationships>
</file>

<file path=ppt/slides/_rels/slide18.xml.rels><?xml version="1.0" encoding="UTF-8" standalone="yes"?>
<Relationships xmlns="http://schemas.openxmlformats.org/package/2006/relationships"><Relationship Id="rId3" Type="http://schemas.openxmlformats.org/officeDocument/2006/relationships/hyperlink" Target="https://trailhead.salesforce.com/content/learn/modules/einstein-for-developers/get-to-know-einstein-for-developers" TargetMode="External"/><Relationship Id="rId2" Type="http://schemas.openxmlformats.org/officeDocument/2006/relationships/hyperlink" Target="https://developer.salesforce.com/docs/platform/einstein-for-devs/guide/einstein-setup.html" TargetMode="External"/><Relationship Id="rId1" Type="http://schemas.openxmlformats.org/officeDocument/2006/relationships/slideLayout" Target="../slideLayouts/slideLayout4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xml"/><Relationship Id="rId1" Type="http://schemas.openxmlformats.org/officeDocument/2006/relationships/slideLayout" Target="../slideLayouts/slideLayout97.xml"/><Relationship Id="rId5" Type="http://schemas.openxmlformats.org/officeDocument/2006/relationships/image" Target="../media/image32.svg"/><Relationship Id="rId4" Type="http://schemas.openxmlformats.org/officeDocument/2006/relationships/image" Target="../media/image3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70.xml"/><Relationship Id="rId5" Type="http://schemas.openxmlformats.org/officeDocument/2006/relationships/image" Target="../media/image36.png"/><Relationship Id="rId4" Type="http://schemas.openxmlformats.org/officeDocument/2006/relationships/image" Target="../media/image35.png"/></Relationships>
</file>

<file path=ppt/slides/_rels/slide5.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1.jpeg"/><Relationship Id="rId2" Type="http://schemas.openxmlformats.org/officeDocument/2006/relationships/image" Target="../media/image37.png"/><Relationship Id="rId1" Type="http://schemas.openxmlformats.org/officeDocument/2006/relationships/slideLayout" Target="../slideLayouts/slideLayout67.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6.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3" Type="http://schemas.openxmlformats.org/officeDocument/2006/relationships/image" Target="../media/image42.png"/><Relationship Id="rId7" Type="http://schemas.openxmlformats.org/officeDocument/2006/relationships/image" Target="../media/image45.png"/><Relationship Id="rId12" Type="http://schemas.openxmlformats.org/officeDocument/2006/relationships/image" Target="../media/image50.png"/><Relationship Id="rId2" Type="http://schemas.openxmlformats.org/officeDocument/2006/relationships/image" Target="../media/image37.png"/><Relationship Id="rId16" Type="http://schemas.openxmlformats.org/officeDocument/2006/relationships/image" Target="../media/image36.png"/><Relationship Id="rId1" Type="http://schemas.openxmlformats.org/officeDocument/2006/relationships/slideLayout" Target="../slideLayouts/slideLayout67.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39.png"/><Relationship Id="rId15" Type="http://schemas.openxmlformats.org/officeDocument/2006/relationships/image" Target="../media/image53.png"/><Relationship Id="rId10" Type="http://schemas.openxmlformats.org/officeDocument/2006/relationships/image" Target="../media/image48.png"/><Relationship Id="rId4" Type="http://schemas.openxmlformats.org/officeDocument/2006/relationships/image" Target="../media/image43.jpeg"/><Relationship Id="rId9" Type="http://schemas.openxmlformats.org/officeDocument/2006/relationships/image" Target="../media/image47.png"/><Relationship Id="rId14" Type="http://schemas.openxmlformats.org/officeDocument/2006/relationships/image" Target="../media/image52.png"/></Relationships>
</file>

<file path=ppt/slides/_rels/slide7.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1.png"/><Relationship Id="rId18" Type="http://schemas.openxmlformats.org/officeDocument/2006/relationships/image" Target="../media/image53.png"/><Relationship Id="rId3" Type="http://schemas.openxmlformats.org/officeDocument/2006/relationships/image" Target="../media/image54.png"/><Relationship Id="rId21" Type="http://schemas.openxmlformats.org/officeDocument/2006/relationships/image" Target="../media/image66.png"/><Relationship Id="rId7" Type="http://schemas.openxmlformats.org/officeDocument/2006/relationships/image" Target="../media/image58.png"/><Relationship Id="rId12" Type="http://schemas.openxmlformats.org/officeDocument/2006/relationships/image" Target="../media/image60.png"/><Relationship Id="rId17" Type="http://schemas.openxmlformats.org/officeDocument/2006/relationships/image" Target="../media/image52.png"/><Relationship Id="rId2" Type="http://schemas.openxmlformats.org/officeDocument/2006/relationships/image" Target="../media/image23.jpeg"/><Relationship Id="rId16" Type="http://schemas.openxmlformats.org/officeDocument/2006/relationships/image" Target="../media/image51.png"/><Relationship Id="rId20" Type="http://schemas.openxmlformats.org/officeDocument/2006/relationships/image" Target="../media/image65.png"/><Relationship Id="rId1" Type="http://schemas.openxmlformats.org/officeDocument/2006/relationships/slideLayout" Target="../slideLayouts/slideLayout67.xml"/><Relationship Id="rId6" Type="http://schemas.openxmlformats.org/officeDocument/2006/relationships/image" Target="../media/image57.png"/><Relationship Id="rId11" Type="http://schemas.openxmlformats.org/officeDocument/2006/relationships/image" Target="../media/image39.png"/><Relationship Id="rId5" Type="http://schemas.openxmlformats.org/officeDocument/2006/relationships/image" Target="../media/image56.png"/><Relationship Id="rId15" Type="http://schemas.openxmlformats.org/officeDocument/2006/relationships/image" Target="../media/image63.png"/><Relationship Id="rId23" Type="http://schemas.openxmlformats.org/officeDocument/2006/relationships/image" Target="../media/image36.png"/><Relationship Id="rId10" Type="http://schemas.openxmlformats.org/officeDocument/2006/relationships/image" Target="../media/image50.png"/><Relationship Id="rId19" Type="http://schemas.openxmlformats.org/officeDocument/2006/relationships/image" Target="../media/image64.png"/><Relationship Id="rId4" Type="http://schemas.openxmlformats.org/officeDocument/2006/relationships/image" Target="../media/image55.png"/><Relationship Id="rId9" Type="http://schemas.openxmlformats.org/officeDocument/2006/relationships/image" Target="../media/image49.png"/><Relationship Id="rId14" Type="http://schemas.openxmlformats.org/officeDocument/2006/relationships/image" Target="../media/image62.png"/><Relationship Id="rId22" Type="http://schemas.openxmlformats.org/officeDocument/2006/relationships/image" Target="../media/image67.png"/></Relationships>
</file>

<file path=ppt/slides/_rels/slide8.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3.xml"/><Relationship Id="rId1" Type="http://schemas.openxmlformats.org/officeDocument/2006/relationships/slideLayout" Target="../slideLayouts/slideLayout112.xml"/></Relationships>
</file>

<file path=ppt/slides/_rels/slide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xml"/><Relationship Id="rId1" Type="http://schemas.openxmlformats.org/officeDocument/2006/relationships/slideLayout" Target="../slideLayouts/slideLayout1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close-up photography of woman's face">
            <a:extLst>
              <a:ext uri="{FF2B5EF4-FFF2-40B4-BE49-F238E27FC236}">
                <a16:creationId xmlns:a16="http://schemas.microsoft.com/office/drawing/2014/main" id="{9FA4DE0C-C947-DEA9-971D-0CD1BDB5245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2731" t="11428" b="32257"/>
          <a:stretch/>
        </p:blipFill>
        <p:spPr bwMode="auto">
          <a:xfrm flipH="1">
            <a:off x="-1" y="-1"/>
            <a:ext cx="12282169" cy="685800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F76973C8-06B0-05EE-C152-0907788A81A6}"/>
              </a:ext>
            </a:extLst>
          </p:cNvPr>
          <p:cNvSpPr/>
          <p:nvPr/>
        </p:nvSpPr>
        <p:spPr>
          <a:xfrm>
            <a:off x="0" y="-1"/>
            <a:ext cx="12282169" cy="6858001"/>
          </a:xfrm>
          <a:prstGeom prst="rect">
            <a:avLst/>
          </a:prstGeom>
          <a:gradFill>
            <a:gsLst>
              <a:gs pos="36000">
                <a:schemeClr val="accent4">
                  <a:alpha val="82000"/>
                </a:schemeClr>
              </a:gs>
              <a:gs pos="100000">
                <a:schemeClr val="accent4">
                  <a:alpha val="82000"/>
                </a:schemeClr>
              </a:gs>
              <a:gs pos="67000">
                <a:schemeClr val="accent4">
                  <a:alpha val="0"/>
                </a:schemeClr>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sp>
        <p:nvSpPr>
          <p:cNvPr id="2" name="Rectangle 1">
            <a:extLst>
              <a:ext uri="{FF2B5EF4-FFF2-40B4-BE49-F238E27FC236}">
                <a16:creationId xmlns:a16="http://schemas.microsoft.com/office/drawing/2014/main" id="{3D023B62-4350-433A-2C7F-373C0F4D4D40}"/>
              </a:ext>
            </a:extLst>
          </p:cNvPr>
          <p:cNvSpPr/>
          <p:nvPr/>
        </p:nvSpPr>
        <p:spPr>
          <a:xfrm>
            <a:off x="0" y="-1"/>
            <a:ext cx="12282169" cy="6858001"/>
          </a:xfrm>
          <a:prstGeom prst="rect">
            <a:avLst/>
          </a:prstGeom>
          <a:gradFill>
            <a:gsLst>
              <a:gs pos="52000">
                <a:schemeClr val="accent4">
                  <a:alpha val="0"/>
                </a:schemeClr>
              </a:gs>
              <a:gs pos="100000">
                <a:schemeClr val="accent4">
                  <a:alpha val="91000"/>
                </a:schemeClr>
              </a:gs>
              <a:gs pos="0">
                <a:schemeClr val="accent4">
                  <a:alpha val="93000"/>
                </a:schemeClr>
              </a:gs>
            </a:gsLst>
            <a:lin ang="540000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grpSp>
        <p:nvGrpSpPr>
          <p:cNvPr id="8" name="Group 7">
            <a:extLst>
              <a:ext uri="{FF2B5EF4-FFF2-40B4-BE49-F238E27FC236}">
                <a16:creationId xmlns:a16="http://schemas.microsoft.com/office/drawing/2014/main" id="{68CBE40D-E8B2-4720-77FC-E5CFDC3F86A5}"/>
              </a:ext>
            </a:extLst>
          </p:cNvPr>
          <p:cNvGrpSpPr>
            <a:grpSpLocks noChangeAspect="1"/>
          </p:cNvGrpSpPr>
          <p:nvPr/>
        </p:nvGrpSpPr>
        <p:grpSpPr>
          <a:xfrm>
            <a:off x="443568" y="6021288"/>
            <a:ext cx="1872000" cy="420870"/>
            <a:chOff x="5094083" y="5360390"/>
            <a:chExt cx="3039349" cy="683316"/>
          </a:xfrm>
        </p:grpSpPr>
        <p:sp>
          <p:nvSpPr>
            <p:cNvPr id="9" name="Freeform: Shape 8">
              <a:extLst>
                <a:ext uri="{FF2B5EF4-FFF2-40B4-BE49-F238E27FC236}">
                  <a16:creationId xmlns:a16="http://schemas.microsoft.com/office/drawing/2014/main" id="{522D0EB6-B09F-4E64-43AC-29F9609DCB67}"/>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FFB9C726-5344-DEB1-5800-0EE85FDF4339}"/>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547C6480-9971-879F-D678-F9800DD5D623}"/>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42E5C724-8605-7930-8A1E-5698973C0A3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F4C6A72B-FC15-AEF3-6B1C-B593AD16492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pic>
        <p:nvPicPr>
          <p:cNvPr id="18" name="Picture 17" descr="A blue line in a black background&#10;&#10;Description automatically generated">
            <a:extLst>
              <a:ext uri="{FF2B5EF4-FFF2-40B4-BE49-F238E27FC236}">
                <a16:creationId xmlns:a16="http://schemas.microsoft.com/office/drawing/2014/main" id="{6083F0C8-62CC-632C-958B-76DE6800BBC6}"/>
              </a:ext>
            </a:extLst>
          </p:cNvPr>
          <p:cNvPicPr>
            <a:picLocks noChangeAspect="1"/>
          </p:cNvPicPr>
          <p:nvPr/>
        </p:nvPicPr>
        <p:blipFill>
          <a:blip r:embed="rId3">
            <a:alphaModFix amt="50000"/>
          </a:blip>
          <a:srcRect/>
          <a:stretch>
            <a:fillRect/>
          </a:stretch>
        </p:blipFill>
        <p:spPr>
          <a:xfrm>
            <a:off x="2096461" y="629832"/>
            <a:ext cx="7729744" cy="6403861"/>
          </a:xfrm>
          <a:custGeom>
            <a:avLst/>
            <a:gdLst>
              <a:gd name="connsiteX0" fmla="*/ 5819609 w 7729744"/>
              <a:gd name="connsiteY0" fmla="*/ 2233002 h 6403861"/>
              <a:gd name="connsiteX1" fmla="*/ 5303354 w 7729744"/>
              <a:gd name="connsiteY1" fmla="*/ 2916701 h 6403861"/>
              <a:gd name="connsiteX2" fmla="*/ 5819609 w 7729744"/>
              <a:gd name="connsiteY2" fmla="*/ 3600400 h 6403861"/>
              <a:gd name="connsiteX3" fmla="*/ 6335864 w 7729744"/>
              <a:gd name="connsiteY3" fmla="*/ 2916701 h 6403861"/>
              <a:gd name="connsiteX4" fmla="*/ 5819609 w 7729744"/>
              <a:gd name="connsiteY4" fmla="*/ 2233002 h 6403861"/>
              <a:gd name="connsiteX5" fmla="*/ 0 w 7729744"/>
              <a:gd name="connsiteY5" fmla="*/ 0 h 6403861"/>
              <a:gd name="connsiteX6" fmla="*/ 7729744 w 7729744"/>
              <a:gd name="connsiteY6" fmla="*/ 0 h 6403861"/>
              <a:gd name="connsiteX7" fmla="*/ 7729744 w 7729744"/>
              <a:gd name="connsiteY7" fmla="*/ 6403861 h 6403861"/>
              <a:gd name="connsiteX8" fmla="*/ 0 w 7729744"/>
              <a:gd name="connsiteY8" fmla="*/ 6403861 h 6403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29744" h="6403861">
                <a:moveTo>
                  <a:pt x="5819609" y="2233002"/>
                </a:moveTo>
                <a:cubicBezTo>
                  <a:pt x="5534489" y="2233002"/>
                  <a:pt x="5303354" y="2539104"/>
                  <a:pt x="5303354" y="2916701"/>
                </a:cubicBezTo>
                <a:cubicBezTo>
                  <a:pt x="5303354" y="3294298"/>
                  <a:pt x="5534489" y="3600400"/>
                  <a:pt x="5819609" y="3600400"/>
                </a:cubicBezTo>
                <a:cubicBezTo>
                  <a:pt x="6104729" y="3600400"/>
                  <a:pt x="6335864" y="3294298"/>
                  <a:pt x="6335864" y="2916701"/>
                </a:cubicBezTo>
                <a:cubicBezTo>
                  <a:pt x="6335864" y="2539104"/>
                  <a:pt x="6104729" y="2233002"/>
                  <a:pt x="5819609" y="2233002"/>
                </a:cubicBezTo>
                <a:close/>
                <a:moveTo>
                  <a:pt x="0" y="0"/>
                </a:moveTo>
                <a:lnTo>
                  <a:pt x="7729744" y="0"/>
                </a:lnTo>
                <a:lnTo>
                  <a:pt x="7729744" y="6403861"/>
                </a:lnTo>
                <a:lnTo>
                  <a:pt x="0" y="6403861"/>
                </a:lnTo>
                <a:close/>
              </a:path>
            </a:pathLst>
          </a:custGeom>
        </p:spPr>
      </p:pic>
      <p:sp>
        <p:nvSpPr>
          <p:cNvPr id="3" name="Title 2">
            <a:extLst>
              <a:ext uri="{FF2B5EF4-FFF2-40B4-BE49-F238E27FC236}">
                <a16:creationId xmlns:a16="http://schemas.microsoft.com/office/drawing/2014/main" id="{22303218-2602-5BA8-29CD-9B07574D6A06}"/>
              </a:ext>
            </a:extLst>
          </p:cNvPr>
          <p:cNvSpPr>
            <a:spLocks noGrp="1"/>
          </p:cNvSpPr>
          <p:nvPr>
            <p:ph type="ctrTitle"/>
          </p:nvPr>
        </p:nvSpPr>
        <p:spPr>
          <a:xfrm>
            <a:off x="443568" y="695778"/>
            <a:ext cx="11090276" cy="4487382"/>
          </a:xfrm>
        </p:spPr>
        <p:txBody>
          <a:bodyPr>
            <a:spAutoFit/>
          </a:bodyPr>
          <a:lstStyle/>
          <a:p>
            <a:pPr lvl="0">
              <a:tabLst/>
              <a:defRPr/>
            </a:pPr>
            <a:r>
              <a:rPr lang="en-US" sz="4800" dirty="0">
                <a:solidFill>
                  <a:schemeClr val="accent2">
                    <a:lumMod val="60000"/>
                    <a:lumOff val="40000"/>
                  </a:schemeClr>
                </a:solidFill>
              </a:rPr>
              <a:t>SALESFORCE</a:t>
            </a:r>
            <a:br>
              <a:rPr lang="en-US" sz="4800" dirty="0">
                <a:solidFill>
                  <a:schemeClr val="accent2">
                    <a:lumMod val="60000"/>
                    <a:lumOff val="40000"/>
                  </a:schemeClr>
                </a:solidFill>
              </a:rPr>
            </a:br>
            <a:r>
              <a:rPr lang="en-US" sz="4800" dirty="0">
                <a:solidFill>
                  <a:schemeClr val="accent2">
                    <a:lumMod val="60000"/>
                    <a:lumOff val="40000"/>
                  </a:schemeClr>
                </a:solidFill>
              </a:rPr>
              <a:t>GEN AI </a:t>
            </a:r>
            <a:r>
              <a:rPr lang="en-US" sz="4800" dirty="0"/>
              <a:t>FOR</a:t>
            </a:r>
            <a:br>
              <a:rPr lang="en-US" sz="4800" dirty="0"/>
            </a:br>
            <a:r>
              <a:rPr lang="en-US" sz="4800" dirty="0"/>
              <a:t>SOFTWARE </a:t>
            </a:r>
            <a:br>
              <a:rPr lang="en-US" sz="4800" dirty="0"/>
            </a:br>
            <a:r>
              <a:rPr lang="en-US" sz="4800" dirty="0"/>
              <a:t>ENGINEERING</a:t>
            </a:r>
            <a:br>
              <a:rPr lang="en-US" sz="4800" dirty="0"/>
            </a:br>
            <a:r>
              <a:rPr lang="en-US" sz="4800" dirty="0">
                <a:solidFill>
                  <a:schemeClr val="accent2">
                    <a:lumMod val="60000"/>
                    <a:lumOff val="40000"/>
                  </a:schemeClr>
                </a:solidFill>
              </a:rPr>
              <a:t>RECOMMENDATION</a:t>
            </a:r>
            <a:br>
              <a:rPr lang="en-US" sz="4800" dirty="0">
                <a:solidFill>
                  <a:schemeClr val="accent2">
                    <a:lumMod val="60000"/>
                    <a:lumOff val="40000"/>
                  </a:schemeClr>
                </a:solidFill>
              </a:rPr>
            </a:br>
            <a:br>
              <a:rPr lang="en-US" sz="2800" dirty="0">
                <a:solidFill>
                  <a:schemeClr val="accent2">
                    <a:lumMod val="60000"/>
                    <a:lumOff val="40000"/>
                  </a:schemeClr>
                </a:solidFill>
              </a:rPr>
            </a:br>
            <a:r>
              <a:rPr lang="en-US" sz="2800" dirty="0">
                <a:solidFill>
                  <a:schemeClr val="accent2">
                    <a:lumMod val="60000"/>
                    <a:lumOff val="40000"/>
                  </a:schemeClr>
                </a:solidFill>
              </a:rPr>
              <a:t>DCX Salesforce </a:t>
            </a:r>
            <a:r>
              <a:rPr lang="en-US" sz="2800" dirty="0" err="1">
                <a:solidFill>
                  <a:schemeClr val="accent2">
                    <a:lumMod val="60000"/>
                    <a:lumOff val="40000"/>
                  </a:schemeClr>
                </a:solidFill>
              </a:rPr>
              <a:t>CoE</a:t>
            </a:r>
            <a:r>
              <a:rPr lang="en-US" sz="2800" dirty="0">
                <a:solidFill>
                  <a:schemeClr val="accent2">
                    <a:lumMod val="60000"/>
                    <a:lumOff val="40000"/>
                  </a:schemeClr>
                </a:solidFill>
              </a:rPr>
              <a:t> Team</a:t>
            </a:r>
            <a:br>
              <a:rPr lang="en-US" sz="2800" dirty="0">
                <a:solidFill>
                  <a:schemeClr val="accent2">
                    <a:lumMod val="60000"/>
                    <a:lumOff val="40000"/>
                  </a:schemeClr>
                </a:solidFill>
              </a:rPr>
            </a:br>
            <a:r>
              <a:rPr lang="en-US" sz="2400" dirty="0">
                <a:solidFill>
                  <a:schemeClr val="accent2">
                    <a:lumMod val="60000"/>
                    <a:lumOff val="40000"/>
                  </a:schemeClr>
                </a:solidFill>
              </a:rPr>
              <a:t>May 2025</a:t>
            </a:r>
            <a:endParaRPr kumimoji="0" lang="en-US" sz="4800" b="0" i="0" u="none" strike="noStrike" kern="1200" spc="0" normalizeH="0" baseline="0" noProof="0" dirty="0">
              <a:ln>
                <a:noFill/>
              </a:ln>
              <a:solidFill>
                <a:schemeClr val="accent2">
                  <a:lumMod val="60000"/>
                  <a:lumOff val="40000"/>
                </a:schemeClr>
              </a:solidFill>
              <a:effectLst/>
              <a:uLnTx/>
              <a:uFillTx/>
              <a:latin typeface="Ubuntu" panose="020B0504030602030204" pitchFamily="34" charset="0"/>
            </a:endParaRPr>
          </a:p>
        </p:txBody>
      </p:sp>
    </p:spTree>
    <p:extLst>
      <p:ext uri="{BB962C8B-B14F-4D97-AF65-F5344CB8AC3E}">
        <p14:creationId xmlns:p14="http://schemas.microsoft.com/office/powerpoint/2010/main" val="3781242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22" presetClass="entr" presetSubtype="4" fill="hold" nodeType="after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wipe(down)">
                                      <p:cBhvr>
                                        <p:cTn id="1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92CC1E4F-F1F0-B945-BE50-C72A7103E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Neue Haas Grotesk Text Pro"/>
              <a:ea typeface="+mn-ea"/>
              <a:cs typeface="+mn-cs"/>
            </a:endParaRPr>
          </a:p>
        </p:txBody>
      </p:sp>
      <p:pic>
        <p:nvPicPr>
          <p:cNvPr id="5" name="Content Placeholder 4" descr="a programmer is debugging his code (code is mirrored horizontally)&#10;&#10;view more similar files:&#10;[url=search/portfolio/248175/?facets={%2235%22:%5B%22technology%22,%22OR%20computer%22,%22OR%20camera%22,%22OR%20internet%22%5D,%229%22:0,%2230%22:%22100%22}][img]http://www.photonullplus.de/misc/istock/istock-thumb-tech.jpg[/img][/url] [url=search/portfolio/248175/?facets={%2235%22:%5B%22job%22,%22OR%20work%22,%22OR%20messenger%22%5D,%229%22:0,%2230%22:%22100%22}][img]http://www.photonullplus.de/misc/istock/istock-thumb-jobs.jpg[/img][/url]&#10;&#10;[url=file_closeup.php?id=9924417][img]file_thumbview_approve.php?size=1&amp;id=9924417[/img][/url] [url=file_closeup.php?id=9880384][img]file_thumbview_approve.php?size=1&amp;id=9880384[/img][/url] [url=file_closeup.php?id=9880369][img]file_thumbview_approve.php?size=1&amp;id=9880369[/img][/url] [url=file_closeup.php?id=9880343][img]file_thumbview_approve.php?size=1&amp;id=9880343[/img][/url] [url=file_closeup.php?id=9880317][img]file_thumbview_approve.php?size=1&amp;id=9880317[/img][/url] [url=file_closeup.php?id=9422617][img]file_thumbview_approve.php?size=1&amp;id=9422617[/img][/url] [url=file_closeup.php?id=9422623][img]file_thumbview_approve.php?size=1&amp;id=9422623[/img][/url] [url=file_closeup.php?id=16508469][img]file_thumbview_approve.php?size=1&amp;id=16508469[/img][/url] [url=file_closeup.php?id=16863859][img]file_thumbview_approve.php?size=1&amp;id=16863859[/img][/url] [url=file_closeup.php?id=16863845][img]file_thumbview_approve.php?size=1&amp;id=16863845[/img][/url] [url=file_closeup.php?id=17323807][img]file_thumbview_approve.php?size=1&amp;id=17323807[/img][/url] [url=file_closeup.php?id=17323693][img]file_thumbview_approve.php?size=1&amp;id=17323693[/img][/url] [url=file_closeup.php?id=18279006][img]file_thumbview_approve.php?size=1&amp;id=18279006[/img][/url] [url=file_closeup.php?id=18279019][img]file_thumbview_approve.php?size=1&amp;id=18279019[/img][/url]">
            <a:extLst>
              <a:ext uri="{FF2B5EF4-FFF2-40B4-BE49-F238E27FC236}">
                <a16:creationId xmlns:a16="http://schemas.microsoft.com/office/drawing/2014/main" id="{BD37DD09-AF8A-4DE9-9A68-B8C64044BC39}"/>
              </a:ext>
            </a:extLst>
          </p:cNvPr>
          <p:cNvPicPr>
            <a:picLocks noGrp="1" noChangeAspect="1"/>
          </p:cNvPicPr>
          <p:nvPr>
            <p:ph sz="half" idx="1"/>
          </p:nvPr>
        </p:nvPicPr>
        <p:blipFill>
          <a:blip r:embed="rId3"/>
          <a:srcRect l="24827" r="-1" b="-1"/>
          <a:stretch/>
        </p:blipFill>
        <p:spPr>
          <a:xfrm>
            <a:off x="20" y="10"/>
            <a:ext cx="7723393" cy="6857990"/>
          </a:xfrm>
          <a:prstGeom prst="rect">
            <a:avLst/>
          </a:prstGeom>
        </p:spPr>
      </p:pic>
      <p:sp>
        <p:nvSpPr>
          <p:cNvPr id="2" name="Title 1">
            <a:extLst>
              <a:ext uri="{FF2B5EF4-FFF2-40B4-BE49-F238E27FC236}">
                <a16:creationId xmlns:a16="http://schemas.microsoft.com/office/drawing/2014/main" id="{94D483EF-862D-5F58-0C49-526639DAA79C}"/>
              </a:ext>
            </a:extLst>
          </p:cNvPr>
          <p:cNvSpPr>
            <a:spLocks noGrp="1"/>
          </p:cNvSpPr>
          <p:nvPr>
            <p:ph type="title"/>
          </p:nvPr>
        </p:nvSpPr>
        <p:spPr>
          <a:xfrm>
            <a:off x="8041821" y="0"/>
            <a:ext cx="2767693" cy="794657"/>
          </a:xfrm>
        </p:spPr>
        <p:txBody>
          <a:bodyPr vert="horz" lIns="91440" tIns="45720" rIns="91440" bIns="45720" rtlCol="0" anchor="b">
            <a:normAutofit/>
          </a:bodyPr>
          <a:lstStyle/>
          <a:p>
            <a:r>
              <a:rPr lang="en-US" b="1" kern="1200">
                <a:solidFill>
                  <a:schemeClr val="tx1"/>
                </a:solidFill>
                <a:latin typeface="+mj-lt"/>
                <a:ea typeface="+mj-ea"/>
                <a:cs typeface="+mj-cs"/>
              </a:rPr>
              <a:t>Setup</a:t>
            </a:r>
          </a:p>
        </p:txBody>
      </p:sp>
      <p:sp>
        <p:nvSpPr>
          <p:cNvPr id="4" name="Content Placeholder 3">
            <a:extLst>
              <a:ext uri="{FF2B5EF4-FFF2-40B4-BE49-F238E27FC236}">
                <a16:creationId xmlns:a16="http://schemas.microsoft.com/office/drawing/2014/main" id="{8C3481EA-861E-1027-1143-492AA863B0ED}"/>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8172450" y="838200"/>
            <a:ext cx="3212502" cy="2767366"/>
          </a:xfrm>
        </p:spPr>
        <p:txBody>
          <a:bodyPr vert="horz" lIns="91440" tIns="45720" rIns="91440" bIns="45720" rtlCol="0" anchor="t">
            <a:normAutofit/>
          </a:bodyPr>
          <a:lstStyle/>
          <a:p>
            <a:pPr marL="0" indent="0">
              <a:spcBef>
                <a:spcPts val="2500"/>
              </a:spcBef>
              <a:buNone/>
            </a:pPr>
            <a:endParaRPr lang="en-US" sz="1400" b="1"/>
          </a:p>
          <a:p>
            <a:pPr marL="0" lvl="1" indent="0">
              <a:buNone/>
            </a:pPr>
            <a:r>
              <a:rPr lang="en-US" sz="1400"/>
              <a:t>To use GitHub Copilot, you must have the latest version of </a:t>
            </a:r>
            <a:r>
              <a:rPr lang="en-US" sz="1400" err="1"/>
              <a:t>VSCode</a:t>
            </a:r>
            <a:r>
              <a:rPr lang="en-US" sz="1400"/>
              <a:t> and access to the Visual Studio Code Marketplace. To use GitHub Copilot in </a:t>
            </a:r>
            <a:r>
              <a:rPr lang="en-US" sz="1400" err="1"/>
              <a:t>VSCode</a:t>
            </a:r>
            <a:r>
              <a:rPr lang="en-US" sz="1400"/>
              <a:t>, you first need to install the Copilot extension from the </a:t>
            </a:r>
            <a:r>
              <a:rPr lang="en-US" sz="1400" err="1"/>
              <a:t>VSCode</a:t>
            </a:r>
            <a:r>
              <a:rPr lang="en-US" sz="1400"/>
              <a:t> marketplace. Once installed, you can activate Copilot in your code editor.</a:t>
            </a:r>
            <a:endParaRPr lang="en-IN" sz="1400"/>
          </a:p>
        </p:txBody>
      </p:sp>
      <p:sp>
        <p:nvSpPr>
          <p:cNvPr id="3" name="Title 1">
            <a:extLst>
              <a:ext uri="{FF2B5EF4-FFF2-40B4-BE49-F238E27FC236}">
                <a16:creationId xmlns:a16="http://schemas.microsoft.com/office/drawing/2014/main" id="{7F561C88-8C30-44AC-D609-343A5BAF17E2}"/>
              </a:ext>
            </a:extLst>
          </p:cNvPr>
          <p:cNvSpPr txBox="1">
            <a:spLocks/>
          </p:cNvSpPr>
          <p:nvPr/>
        </p:nvSpPr>
        <p:spPr>
          <a:xfrm>
            <a:off x="8041821" y="2458397"/>
            <a:ext cx="3212502" cy="1942773"/>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a:ln>
                  <a:noFill/>
                </a:ln>
                <a:solidFill>
                  <a:srgbClr val="333333"/>
                </a:solidFill>
                <a:effectLst/>
                <a:uLnTx/>
                <a:uFillTx/>
                <a:latin typeface="Neue Haas Grotesk Text Pro"/>
                <a:ea typeface="+mj-ea"/>
                <a:cs typeface="+mj-cs"/>
              </a:rPr>
              <a:t>Activation</a:t>
            </a:r>
          </a:p>
        </p:txBody>
      </p:sp>
      <p:sp>
        <p:nvSpPr>
          <p:cNvPr id="6" name="Content Placeholder 3">
            <a:extLst>
              <a:ext uri="{FF2B5EF4-FFF2-40B4-BE49-F238E27FC236}">
                <a16:creationId xmlns:a16="http://schemas.microsoft.com/office/drawing/2014/main" id="{BC5D42AA-98E5-D01A-FA2A-095CF3336247}"/>
              </a:ext>
            </a:extLst>
          </p:cNvPr>
          <p:cNvSpPr txBox="1">
            <a:spLocks/>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8041821" y="4086829"/>
            <a:ext cx="3212502" cy="2767366"/>
          </a:xfrm>
          <a:prstGeom prst="rect">
            <a:avLst/>
          </a:prstGeom>
        </p:spPr>
        <p:txBody>
          <a:bodyPr vert="horz" lIns="91440" tIns="45720" rIns="91440" bIns="45720" rtlCol="0">
            <a:normAutofit/>
          </a:bodyPr>
          <a:lstStyle>
            <a:lvl1pPr marL="228600" indent="-228600" algn="l" defTabSz="914400" rtl="0" eaLnBrk="1" latinLnBrk="0" hangingPunct="1">
              <a:lnSpc>
                <a:spcPct val="120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2pPr>
            <a:lvl3pPr marL="6858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3pPr>
            <a:lvl4pPr marL="9144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4pPr>
            <a:lvl5pPr marL="11430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2500"/>
              </a:spcBef>
              <a:spcAft>
                <a:spcPts val="0"/>
              </a:spcAft>
              <a:buClrTx/>
              <a:buSzTx/>
              <a:buFont typeface="Arial" panose="020B0604020202020204" pitchFamily="34" charset="0"/>
              <a:buNone/>
              <a:tabLst/>
              <a:defRPr/>
            </a:pPr>
            <a:endParaRPr kumimoji="0" lang="en-US" sz="1400" b="1" i="0" u="none" strike="noStrike" kern="1200" cap="none" spc="0" normalizeH="0" baseline="0" noProof="0">
              <a:ln>
                <a:noFill/>
              </a:ln>
              <a:solidFill>
                <a:srgbClr val="333333"/>
              </a:solidFill>
              <a:effectLst/>
              <a:uLnTx/>
              <a:uFillTx/>
              <a:latin typeface="Neue Haas Grotesk Text Pro"/>
              <a:ea typeface="+mn-ea"/>
              <a:cs typeface="+mn-cs"/>
            </a:endParaRPr>
          </a:p>
          <a:p>
            <a:pPr marL="0" marR="0" lvl="1" indent="0" algn="l" defTabSz="914400" rtl="0" eaLnBrk="1" fontAlgn="auto" latinLnBrk="0" hangingPunct="1">
              <a:lnSpc>
                <a:spcPct val="120000"/>
              </a:lnSpc>
              <a:spcBef>
                <a:spcPts val="5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333333"/>
                </a:solidFill>
                <a:effectLst/>
                <a:uLnTx/>
                <a:uFillTx/>
                <a:latin typeface="Neue Haas Grotesk Text Pro"/>
                <a:ea typeface="+mn-ea"/>
                <a:cs typeface="+mn-cs"/>
              </a:rPr>
              <a:t>To activate GitHub Copilot, you need to sign in with your GitHub account. The activation process is straightforward and easy to follow.</a:t>
            </a:r>
            <a:endParaRPr kumimoji="0" lang="en-IN" sz="1400" b="0" i="0" u="none" strike="noStrike" kern="1200" cap="none" spc="0" normalizeH="0" baseline="0" noProof="0">
              <a:ln>
                <a:noFill/>
              </a:ln>
              <a:solidFill>
                <a:srgbClr val="333333"/>
              </a:solidFill>
              <a:effectLst/>
              <a:uLnTx/>
              <a:uFillTx/>
              <a:latin typeface="Neue Haas Grotesk Text Pro"/>
              <a:ea typeface="+mn-ea"/>
              <a:cs typeface="+mn-cs"/>
            </a:endParaRPr>
          </a:p>
        </p:txBody>
      </p:sp>
      <p:pic>
        <p:nvPicPr>
          <p:cNvPr id="7" name="Picture 6">
            <a:extLst>
              <a:ext uri="{FF2B5EF4-FFF2-40B4-BE49-F238E27FC236}">
                <a16:creationId xmlns:a16="http://schemas.microsoft.com/office/drawing/2014/main" id="{F62AC6C9-E0F2-D98E-876F-5B4CAAB02BD2}"/>
              </a:ext>
            </a:extLst>
          </p:cNvPr>
          <p:cNvPicPr>
            <a:picLocks noChangeAspect="1"/>
          </p:cNvPicPr>
          <p:nvPr/>
        </p:nvPicPr>
        <p:blipFill>
          <a:blip r:embed="rId4"/>
          <a:stretch>
            <a:fillRect/>
          </a:stretch>
        </p:blipFill>
        <p:spPr>
          <a:xfrm>
            <a:off x="11369664" y="137674"/>
            <a:ext cx="425472" cy="381020"/>
          </a:xfrm>
          <a:prstGeom prst="rect">
            <a:avLst/>
          </a:prstGeom>
        </p:spPr>
      </p:pic>
    </p:spTree>
    <p:extLst>
      <p:ext uri="{BB962C8B-B14F-4D97-AF65-F5344CB8AC3E}">
        <p14:creationId xmlns:p14="http://schemas.microsoft.com/office/powerpoint/2010/main" val="26800021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250"/>
                                  </p:stCondLst>
                                  <p:iterate>
                                    <p:tmPct val="10000"/>
                                  </p:iterate>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F468DF-5A06-E1C3-CBA9-12F29F6E9EFF}"/>
              </a:ext>
            </a:extLst>
          </p:cNvPr>
          <p:cNvSpPr>
            <a:spLocks noGrp="1"/>
          </p:cNvSpPr>
          <p:nvPr>
            <p:ph type="title"/>
          </p:nvPr>
        </p:nvSpPr>
        <p:spPr>
          <a:xfrm>
            <a:off x="411006" y="309155"/>
            <a:ext cx="11636828" cy="567827"/>
          </a:xfrm>
        </p:spPr>
        <p:txBody>
          <a:bodyPr>
            <a:normAutofit fontScale="90000"/>
          </a:bodyPr>
          <a:lstStyle/>
          <a:p>
            <a:r>
              <a:rPr lang="en-US"/>
              <a:t>Capgemini procured </a:t>
            </a:r>
            <a:r>
              <a:rPr lang="en-US" err="1"/>
              <a:t>Github</a:t>
            </a:r>
            <a:r>
              <a:rPr lang="en-US"/>
              <a:t> Copilot for activation</a:t>
            </a:r>
            <a:endParaRPr lang="en-IN"/>
          </a:p>
        </p:txBody>
      </p:sp>
      <p:sp>
        <p:nvSpPr>
          <p:cNvPr id="3" name="Content Placeholder 2">
            <a:extLst>
              <a:ext uri="{FF2B5EF4-FFF2-40B4-BE49-F238E27FC236}">
                <a16:creationId xmlns:a16="http://schemas.microsoft.com/office/drawing/2014/main" id="{C4C01DC4-73A9-66AD-9FD4-A8494BD7EC2C}"/>
              </a:ext>
            </a:extLst>
          </p:cNvPr>
          <p:cNvSpPr>
            <a:spLocks noGrp="1"/>
          </p:cNvSpPr>
          <p:nvPr>
            <p:ph sz="half" idx="1"/>
          </p:nvPr>
        </p:nvSpPr>
        <p:spPr>
          <a:xfrm>
            <a:off x="573023" y="1254919"/>
            <a:ext cx="11521005" cy="1412082"/>
          </a:xfrm>
        </p:spPr>
        <p:txBody>
          <a:bodyPr vert="horz" lIns="91440" tIns="45720" rIns="91440" bIns="45720" rtlCol="0" anchor="t">
            <a:normAutofit fontScale="40000" lnSpcReduction="20000"/>
          </a:bodyPr>
          <a:lstStyle/>
          <a:p>
            <a:r>
              <a:rPr lang="en-IN" sz="1800">
                <a:latin typeface="Aptos" panose="020B0004020202020204" pitchFamily="34" charset="0"/>
                <a:ea typeface="Aptos" panose="020B0004020202020204" pitchFamily="34" charset="0"/>
                <a:cs typeface="Aptos" panose="020B0004020202020204" pitchFamily="34" charset="0"/>
              </a:rPr>
              <a:t>C</a:t>
            </a:r>
            <a:r>
              <a:rPr lang="en-IN" sz="1800">
                <a:effectLst/>
                <a:latin typeface="Aptos" panose="020B0004020202020204" pitchFamily="34" charset="0"/>
                <a:ea typeface="Aptos" panose="020B0004020202020204" pitchFamily="34" charset="0"/>
                <a:cs typeface="Aptos" panose="020B0004020202020204" pitchFamily="34" charset="0"/>
              </a:rPr>
              <a:t>reate your user in </a:t>
            </a:r>
            <a:r>
              <a:rPr lang="en-IN" sz="1800" err="1">
                <a:effectLst/>
                <a:latin typeface="Aptos" panose="020B0004020202020204" pitchFamily="34" charset="0"/>
                <a:ea typeface="Aptos" panose="020B0004020202020204" pitchFamily="34" charset="0"/>
                <a:cs typeface="Aptos" panose="020B0004020202020204" pitchFamily="34" charset="0"/>
              </a:rPr>
              <a:t>Github</a:t>
            </a:r>
            <a:r>
              <a:rPr lang="en-IN" sz="1800">
                <a:effectLst/>
                <a:latin typeface="Aptos" panose="020B0004020202020204" pitchFamily="34" charset="0"/>
                <a:ea typeface="Aptos" panose="020B0004020202020204" pitchFamily="34" charset="0"/>
                <a:cs typeface="Aptos" panose="020B0004020202020204" pitchFamily="34" charset="0"/>
              </a:rPr>
              <a:t> with CG email address(</a:t>
            </a:r>
            <a:r>
              <a:rPr lang="en-IN" sz="1800" u="sng">
                <a:solidFill>
                  <a:srgbClr val="467886"/>
                </a:solidFill>
                <a:effectLst/>
                <a:latin typeface="Aptos" panose="020B0004020202020204" pitchFamily="34" charset="0"/>
                <a:ea typeface="Aptos" panose="020B0004020202020204" pitchFamily="34" charset="0"/>
                <a:cs typeface="Aptos" panose="020B0004020202020204" pitchFamily="34" charset="0"/>
                <a:hlinkClick r:id="rId2"/>
              </a:rPr>
              <a:t>https://github.com/signup</a:t>
            </a:r>
            <a:r>
              <a:rPr lang="en-IN" sz="1800">
                <a:effectLst/>
                <a:latin typeface="Aptos" panose="020B0004020202020204" pitchFamily="34" charset="0"/>
                <a:ea typeface="Aptos" panose="020B0004020202020204" pitchFamily="34" charset="0"/>
                <a:cs typeface="Aptos" panose="020B0004020202020204" pitchFamily="34" charset="0"/>
              </a:rPr>
              <a:t>)</a:t>
            </a:r>
          </a:p>
          <a:p>
            <a:r>
              <a:rPr lang="en-IN" sz="1800">
                <a:latin typeface="Aptos"/>
                <a:ea typeface="Aptos" panose="020B0004020202020204" pitchFamily="34" charset="0"/>
                <a:cs typeface="Aptos" panose="020B0004020202020204" pitchFamily="34" charset="0"/>
              </a:rPr>
              <a:t>C</a:t>
            </a:r>
            <a:r>
              <a:rPr lang="en-IN" sz="1800">
                <a:effectLst/>
                <a:latin typeface="Aptos"/>
                <a:ea typeface="Aptos" panose="020B0004020202020204" pitchFamily="34" charset="0"/>
                <a:cs typeface="Aptos" panose="020B0004020202020204" pitchFamily="34" charset="0"/>
              </a:rPr>
              <a:t>reate Service Request(</a:t>
            </a:r>
            <a:r>
              <a:rPr lang="en-IN" sz="1800" err="1">
                <a:effectLst/>
                <a:latin typeface="Aptos"/>
                <a:ea typeface="Aptos" panose="020B0004020202020204" pitchFamily="34" charset="0"/>
                <a:cs typeface="Aptos" panose="020B0004020202020204" pitchFamily="34" charset="0"/>
              </a:rPr>
              <a:t>github</a:t>
            </a:r>
            <a:r>
              <a:rPr lang="en-IN" sz="1800">
                <a:effectLst/>
                <a:latin typeface="Aptos"/>
                <a:ea typeface="Aptos" panose="020B0004020202020204" pitchFamily="34" charset="0"/>
                <a:cs typeface="Aptos" panose="020B0004020202020204" pitchFamily="34" charset="0"/>
              </a:rPr>
              <a:t> license mandatory for copilot license) - </a:t>
            </a:r>
            <a:r>
              <a:rPr lang="en-IN" sz="1800">
                <a:ea typeface="+mn-lt"/>
                <a:cs typeface="+mn-lt"/>
              </a:rPr>
              <a:t>https://capgemini.sharepoint.com/sites/IN_Europe_IndusSharedServices/SitePages/MS-GitHub-Copilot-Usage-Registration.aspx?csf=1&amp;web=1&amp;e=dwZXzX&amp;cid=78cbc5a0-d49e-4aca-aba8-71fdf77eda73&amp;xsdata=MDV8MDJ8fDBiMjhlYmM3N2E3NjRmNjkzYzA4MDhkY2RjNjhjYTU1fDc2YTJhZTVhOWYwMDRmNmI5NWVkNWQzM2Q3N2M0ZDYxfDB8MHw2Mzg2Mjc1ODk4MDkwNjA4NzJ8VW5rbm93bnxWR1ZoYlhOVFpXTjFjbWwwZVZObGNuWnBZMlY4ZXlKV0lqb2lNQzR3TGpBd01EQWlMQ0pRSWpvaVYybHVNeklpTENKQlRpSTZJazkwYUdWeUlpd2lWMVFpT2pFeGZRPT18MXxMMk5vWVhSekx6RTVPakF5TVRKbVpUZ3pMVGczTVRZdE5EUmtOaTFpWW1GbExUQmhZelpsWVRFek5EVXdPVjlsWVdFMlpqazJNaTB4TkdFMkxUUmhZVFl0T1dWbFl5MDVNamszTURGbE5EYzJZbUZBZFc1eExtZGliQzV6Y0dGalpYTXZiV1Z6YzJGblpYTXZNVGN5TnpFd01UYzRNRGN6TUE9PXxjODI3ZTE5M2IwNjc0OTU3M2MwODA4ZGNkYzY4Y2E1NXw2NTFkMWQ5MGQzMTE0MmU4YmU1ZTU2YmNkNmY0OTA2Nw%3D%3D&amp;sdata=aE8vdzVDcGw4aWdsWnQ1RE8vcEN5clZVR2hiYUJFazUvRWd6QmpvZCtMYz0%3D&amp;ovuser=76a2ae5a-9f00-4f6b-95ed-5d33d77c4d61%2Charsha-balkrishna.shelke%40capgemini.com#how-to-integrate-github-copilot-with-ide</a:t>
            </a:r>
            <a:endParaRPr lang="en-IN" sz="1800" u="sng">
              <a:latin typeface="Aptos"/>
            </a:endParaRPr>
          </a:p>
        </p:txBody>
      </p:sp>
      <p:pic>
        <p:nvPicPr>
          <p:cNvPr id="1026" name="Picture 1">
            <a:extLst>
              <a:ext uri="{FF2B5EF4-FFF2-40B4-BE49-F238E27FC236}">
                <a16:creationId xmlns:a16="http://schemas.microsoft.com/office/drawing/2014/main" id="{CF8E44B8-2BA2-9300-2D19-1B94F1C311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6449" y="2532098"/>
            <a:ext cx="6147076" cy="3070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2">
            <a:extLst>
              <a:ext uri="{FF2B5EF4-FFF2-40B4-BE49-F238E27FC236}">
                <a16:creationId xmlns:a16="http://schemas.microsoft.com/office/drawing/2014/main" id="{9AC8C47A-5DF9-DA64-839B-0C8C137AE8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51693" y="2490475"/>
            <a:ext cx="5796141" cy="2974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BA3DD0BA-2F57-C60F-2BF5-3F75EA702825}"/>
              </a:ext>
            </a:extLst>
          </p:cNvPr>
          <p:cNvPicPr>
            <a:picLocks noChangeAspect="1"/>
          </p:cNvPicPr>
          <p:nvPr/>
        </p:nvPicPr>
        <p:blipFill>
          <a:blip r:embed="rId5"/>
          <a:stretch>
            <a:fillRect/>
          </a:stretch>
        </p:blipFill>
        <p:spPr>
          <a:xfrm>
            <a:off x="11369664" y="137674"/>
            <a:ext cx="425472" cy="381020"/>
          </a:xfrm>
          <a:prstGeom prst="rect">
            <a:avLst/>
          </a:prstGeom>
        </p:spPr>
      </p:pic>
    </p:spTree>
    <p:extLst>
      <p:ext uri="{BB962C8B-B14F-4D97-AF65-F5344CB8AC3E}">
        <p14:creationId xmlns:p14="http://schemas.microsoft.com/office/powerpoint/2010/main" val="19882439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C1A08D-89B9-8172-BF9C-FDD7EA771760}"/>
              </a:ext>
            </a:extLst>
          </p:cNvPr>
          <p:cNvSpPr>
            <a:spLocks noGrp="1"/>
          </p:cNvSpPr>
          <p:nvPr>
            <p:ph type="title"/>
          </p:nvPr>
        </p:nvSpPr>
        <p:spPr/>
        <p:txBody>
          <a:bodyPr/>
          <a:lstStyle/>
          <a:p>
            <a:r>
              <a:rPr lang="en-US"/>
              <a:t>Client Procured </a:t>
            </a:r>
            <a:r>
              <a:rPr lang="en-US" err="1"/>
              <a:t>Github</a:t>
            </a:r>
            <a:r>
              <a:rPr lang="en-US"/>
              <a:t> Copilot for activation</a:t>
            </a:r>
            <a:endParaRPr lang="en-IN"/>
          </a:p>
        </p:txBody>
      </p:sp>
      <p:sp>
        <p:nvSpPr>
          <p:cNvPr id="3" name="Content Placeholder 2">
            <a:extLst>
              <a:ext uri="{FF2B5EF4-FFF2-40B4-BE49-F238E27FC236}">
                <a16:creationId xmlns:a16="http://schemas.microsoft.com/office/drawing/2014/main" id="{29BCFCFD-C7E5-C551-6F70-EB506E8CFDB7}"/>
              </a:ext>
            </a:extLst>
          </p:cNvPr>
          <p:cNvSpPr>
            <a:spLocks noGrp="1"/>
          </p:cNvSpPr>
          <p:nvPr>
            <p:ph sz="half" idx="1"/>
          </p:nvPr>
        </p:nvSpPr>
        <p:spPr>
          <a:xfrm>
            <a:off x="743276" y="1357539"/>
            <a:ext cx="10991523" cy="4351338"/>
          </a:xfrm>
        </p:spPr>
        <p:txBody>
          <a:bodyPr>
            <a:normAutofit lnSpcReduction="10000"/>
          </a:bodyPr>
          <a:lstStyle/>
          <a:p>
            <a:pPr>
              <a:buNone/>
            </a:pPr>
            <a:r>
              <a:rPr lang="en-US"/>
              <a:t>Process/Steps followed in Altria for Enabling </a:t>
            </a:r>
            <a:r>
              <a:rPr lang="en-US" err="1"/>
              <a:t>Github</a:t>
            </a:r>
            <a:r>
              <a:rPr lang="en-US"/>
              <a:t> Copilot on VDI.</a:t>
            </a:r>
          </a:p>
          <a:p>
            <a:pPr>
              <a:buFont typeface="+mj-lt"/>
              <a:buAutoNum type="arabicPeriod"/>
            </a:pPr>
            <a:r>
              <a:rPr lang="en-US"/>
              <a:t> Amendment was done to start using Co-pilot tools between Altria &amp; Capgemini</a:t>
            </a:r>
          </a:p>
          <a:p>
            <a:pPr>
              <a:buFont typeface="+mj-lt"/>
              <a:buAutoNum type="arabicPeriod"/>
            </a:pPr>
            <a:r>
              <a:rPr lang="en-US"/>
              <a:t>Team member has performed some steps: </a:t>
            </a:r>
          </a:p>
          <a:p>
            <a:pPr marL="742950" lvl="1" indent="-285750">
              <a:buFont typeface="+mj-lt"/>
              <a:buAutoNum type="arabicPeriod"/>
            </a:pPr>
            <a:r>
              <a:rPr lang="en-US"/>
              <a:t>Sign up for </a:t>
            </a:r>
            <a:r>
              <a:rPr lang="en-US" err="1"/>
              <a:t>github</a:t>
            </a:r>
            <a:r>
              <a:rPr lang="en-US"/>
              <a:t> by using Altria email Id</a:t>
            </a:r>
          </a:p>
          <a:p>
            <a:pPr marL="742950" lvl="1" indent="-285750">
              <a:buFont typeface="+mj-lt"/>
              <a:buAutoNum type="arabicPeriod"/>
            </a:pPr>
            <a:r>
              <a:rPr lang="en-US"/>
              <a:t>Setting up 2FA on </a:t>
            </a:r>
            <a:r>
              <a:rPr lang="en-US" err="1"/>
              <a:t>github</a:t>
            </a:r>
            <a:r>
              <a:rPr lang="en-US"/>
              <a:t> Account Settings</a:t>
            </a:r>
          </a:p>
          <a:p>
            <a:pPr marL="742950" lvl="1" indent="-285750">
              <a:buFont typeface="+mj-lt"/>
              <a:buAutoNum type="arabicPeriod"/>
            </a:pPr>
            <a:r>
              <a:rPr lang="en-US"/>
              <a:t>Adding the NTID(Enterprise Id) to Copilot Admin Group (SSO Enablement)</a:t>
            </a:r>
          </a:p>
          <a:p>
            <a:pPr marL="742950" lvl="1" indent="-285750">
              <a:buFont typeface="+mj-lt"/>
              <a:buAutoNum type="arabicPeriod"/>
            </a:pPr>
            <a:r>
              <a:rPr lang="en-US"/>
              <a:t>Update the GitHub User name details on Microsoft form with additional details</a:t>
            </a:r>
          </a:p>
          <a:p>
            <a:pPr>
              <a:buFont typeface="+mj-lt"/>
              <a:buAutoNum type="arabicPeriod"/>
            </a:pPr>
            <a:r>
              <a:rPr lang="en-US"/>
              <a:t>After all these steps, developer would receive email with invitation link. Developer has to accept invitation link(These will enable GitHub co-pilot for user)</a:t>
            </a:r>
          </a:p>
          <a:p>
            <a:pPr>
              <a:buFont typeface="+mj-lt"/>
              <a:buAutoNum type="arabicPeriod"/>
            </a:pPr>
            <a:r>
              <a:rPr lang="en-US"/>
              <a:t>Installing Co-pilot Extension on VS code</a:t>
            </a:r>
          </a:p>
          <a:p>
            <a:endParaRPr lang="en-IN"/>
          </a:p>
        </p:txBody>
      </p:sp>
      <p:pic>
        <p:nvPicPr>
          <p:cNvPr id="5" name="Picture 4">
            <a:extLst>
              <a:ext uri="{FF2B5EF4-FFF2-40B4-BE49-F238E27FC236}">
                <a16:creationId xmlns:a16="http://schemas.microsoft.com/office/drawing/2014/main" id="{3D0D7C56-F989-D63C-CE06-EE4056DEBE7C}"/>
              </a:ext>
            </a:extLst>
          </p:cNvPr>
          <p:cNvPicPr>
            <a:picLocks noChangeAspect="1"/>
          </p:cNvPicPr>
          <p:nvPr/>
        </p:nvPicPr>
        <p:blipFill>
          <a:blip r:embed="rId2"/>
          <a:stretch>
            <a:fillRect/>
          </a:stretch>
        </p:blipFill>
        <p:spPr>
          <a:xfrm>
            <a:off x="11369664" y="137674"/>
            <a:ext cx="425472" cy="381020"/>
          </a:xfrm>
          <a:prstGeom prst="rect">
            <a:avLst/>
          </a:prstGeom>
        </p:spPr>
      </p:pic>
    </p:spTree>
    <p:extLst>
      <p:ext uri="{BB962C8B-B14F-4D97-AF65-F5344CB8AC3E}">
        <p14:creationId xmlns:p14="http://schemas.microsoft.com/office/powerpoint/2010/main" val="33662967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C20CE451-818C-E63D-258B-234B6C543D3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eue Haas Grotesk Text Pro"/>
              <a:ea typeface="+mn-ea"/>
              <a:cs typeface="+mn-cs"/>
            </a:endParaRPr>
          </a:p>
        </p:txBody>
      </p:sp>
      <p:pic>
        <p:nvPicPr>
          <p:cNvPr id="5" name="Content Placeholder 4" descr="101010 data lines to infinity">
            <a:extLst>
              <a:ext uri="{FF2B5EF4-FFF2-40B4-BE49-F238E27FC236}">
                <a16:creationId xmlns:a16="http://schemas.microsoft.com/office/drawing/2014/main" id="{EEF5A3E6-509A-47C3-B77F-76D36B9F3497}"/>
              </a:ext>
            </a:extLst>
          </p:cNvPr>
          <p:cNvPicPr>
            <a:picLocks noGrp="1" noChangeAspect="1"/>
          </p:cNvPicPr>
          <p:nvPr>
            <p:ph sz="half" idx="1"/>
          </p:nvPr>
        </p:nvPicPr>
        <p:blipFill>
          <a:blip r:embed="rId3"/>
          <a:srcRect l="22055" r="17771" b="1"/>
          <a:stretch/>
        </p:blipFill>
        <p:spPr>
          <a:xfrm>
            <a:off x="5818632" y="-1"/>
            <a:ext cx="6373368" cy="6857999"/>
          </a:xfrm>
          <a:prstGeom prst="rect">
            <a:avLst/>
          </a:prstGeom>
        </p:spPr>
      </p:pic>
      <p:sp>
        <p:nvSpPr>
          <p:cNvPr id="2" name="Title 1">
            <a:extLst>
              <a:ext uri="{FF2B5EF4-FFF2-40B4-BE49-F238E27FC236}">
                <a16:creationId xmlns:a16="http://schemas.microsoft.com/office/drawing/2014/main" id="{8449F31E-CD73-5245-5D66-A646F4BFC8AE}"/>
              </a:ext>
            </a:extLst>
          </p:cNvPr>
          <p:cNvSpPr>
            <a:spLocks noGrp="1"/>
          </p:cNvSpPr>
          <p:nvPr>
            <p:ph type="title"/>
          </p:nvPr>
        </p:nvSpPr>
        <p:spPr>
          <a:xfrm>
            <a:off x="614680" y="603504"/>
            <a:ext cx="4361688" cy="1527048"/>
          </a:xfrm>
        </p:spPr>
        <p:txBody>
          <a:bodyPr vert="horz" lIns="91440" tIns="45720" rIns="91440" bIns="45720" rtlCol="0" anchor="b">
            <a:normAutofit/>
          </a:bodyPr>
          <a:lstStyle/>
          <a:p>
            <a:r>
              <a:rPr lang="en-US" b="1" kern="1200">
                <a:solidFill>
                  <a:schemeClr val="tx1"/>
                </a:solidFill>
                <a:latin typeface="+mj-lt"/>
                <a:ea typeface="+mj-ea"/>
                <a:cs typeface="+mj-cs"/>
              </a:rPr>
              <a:t>Using the Prompt in GitHub Copilot</a:t>
            </a:r>
          </a:p>
        </p:txBody>
      </p:sp>
      <p:sp>
        <p:nvSpPr>
          <p:cNvPr id="4" name="Content Placeholder 3">
            <a:extLst>
              <a:ext uri="{FF2B5EF4-FFF2-40B4-BE49-F238E27FC236}">
                <a16:creationId xmlns:a16="http://schemas.microsoft.com/office/drawing/2014/main" id="{BD7A9732-5082-9628-006E-F5E8AE7FCC10}"/>
              </a:ext>
            </a:extLst>
          </p:cNvPr>
          <p:cNvSpPr>
            <a:spLocks noGrp="1"/>
          </p:cNvSpPr>
          <p:nvPr>
            <p:ph sz="half" idx="2"/>
          </p:nvPr>
        </p:nvSpPr>
        <p:spPr>
          <a:xfrm>
            <a:off x="614679" y="2212848"/>
            <a:ext cx="4361688" cy="4096512"/>
          </a:xfrm>
        </p:spPr>
        <p:txBody>
          <a:bodyPr vert="horz" lIns="91440" tIns="45720" rIns="91440" bIns="45720" rtlCol="0">
            <a:normAutofit fontScale="92500"/>
          </a:bodyPr>
          <a:lstStyle/>
          <a:p>
            <a:pPr>
              <a:lnSpc>
                <a:spcPct val="110000"/>
              </a:lnSpc>
            </a:pPr>
            <a:r>
              <a:rPr lang="en-US" sz="1500"/>
              <a:t>The prompt allows developers to provide context and suggestions for code generation</a:t>
            </a:r>
          </a:p>
          <a:p>
            <a:pPr>
              <a:lnSpc>
                <a:spcPct val="110000"/>
              </a:lnSpc>
            </a:pPr>
            <a:r>
              <a:rPr lang="en-US" sz="1500"/>
              <a:t>GitHub Copilot uses OpenAI's GPT technology to suggest code based on prompt and context</a:t>
            </a:r>
          </a:p>
          <a:p>
            <a:pPr>
              <a:lnSpc>
                <a:spcPct val="110000"/>
              </a:lnSpc>
            </a:pPr>
            <a:r>
              <a:rPr lang="en-US" sz="1500"/>
              <a:t>Developers can use the prompt by providing a brief description of the code they want to generate</a:t>
            </a:r>
          </a:p>
          <a:p>
            <a:pPr>
              <a:lnSpc>
                <a:spcPct val="110000"/>
              </a:lnSpc>
            </a:pPr>
            <a:r>
              <a:rPr lang="en-US" sz="1500"/>
              <a:t>The prompt can be used to generate entire functions and classes</a:t>
            </a:r>
          </a:p>
          <a:p>
            <a:pPr>
              <a:lnSpc>
                <a:spcPct val="110000"/>
              </a:lnSpc>
            </a:pPr>
            <a:r>
              <a:rPr lang="en-US" sz="1500"/>
              <a:t>The generated code can be accepted or modified by the developer</a:t>
            </a:r>
          </a:p>
          <a:p>
            <a:pPr>
              <a:lnSpc>
                <a:spcPct val="110000"/>
              </a:lnSpc>
            </a:pPr>
            <a:r>
              <a:rPr lang="en-US" sz="1500"/>
              <a:t>Shortcut Ket for open Inline chat for AI is </a:t>
            </a:r>
            <a:r>
              <a:rPr lang="en-US" sz="1500" err="1"/>
              <a:t>Ctr+I</a:t>
            </a:r>
            <a:endParaRPr lang="en-US" sz="1500"/>
          </a:p>
        </p:txBody>
      </p:sp>
      <p:pic>
        <p:nvPicPr>
          <p:cNvPr id="3" name="Picture 2">
            <a:extLst>
              <a:ext uri="{FF2B5EF4-FFF2-40B4-BE49-F238E27FC236}">
                <a16:creationId xmlns:a16="http://schemas.microsoft.com/office/drawing/2014/main" id="{577782A2-4F4D-D207-7521-68BE8C96D4CC}"/>
              </a:ext>
            </a:extLst>
          </p:cNvPr>
          <p:cNvPicPr>
            <a:picLocks noChangeAspect="1"/>
          </p:cNvPicPr>
          <p:nvPr/>
        </p:nvPicPr>
        <p:blipFill>
          <a:blip r:embed="rId4"/>
          <a:stretch>
            <a:fillRect/>
          </a:stretch>
        </p:blipFill>
        <p:spPr>
          <a:xfrm>
            <a:off x="11369664" y="137674"/>
            <a:ext cx="425472" cy="381020"/>
          </a:xfrm>
          <a:prstGeom prst="rect">
            <a:avLst/>
          </a:prstGeom>
        </p:spPr>
      </p:pic>
    </p:spTree>
    <p:extLst>
      <p:ext uri="{BB962C8B-B14F-4D97-AF65-F5344CB8AC3E}">
        <p14:creationId xmlns:p14="http://schemas.microsoft.com/office/powerpoint/2010/main" val="1180115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4B67D1-E5E8-FED2-903A-2B4662E14D69}"/>
              </a:ext>
            </a:extLst>
          </p:cNvPr>
          <p:cNvSpPr>
            <a:spLocks noGrp="1"/>
          </p:cNvSpPr>
          <p:nvPr>
            <p:ph type="subTitle" idx="1"/>
          </p:nvPr>
        </p:nvSpPr>
        <p:spPr>
          <a:xfrm>
            <a:off x="1457960" y="2468638"/>
            <a:ext cx="11379200" cy="307777"/>
          </a:xfrm>
        </p:spPr>
        <p:txBody>
          <a:bodyPr/>
          <a:lstStyle/>
          <a:p>
            <a:r>
              <a:rPr lang="en-US" sz="6000"/>
              <a:t>Agentforce for Developers</a:t>
            </a:r>
          </a:p>
        </p:txBody>
      </p:sp>
    </p:spTree>
    <p:extLst>
      <p:ext uri="{BB962C8B-B14F-4D97-AF65-F5344CB8AC3E}">
        <p14:creationId xmlns:p14="http://schemas.microsoft.com/office/powerpoint/2010/main" val="21541731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5EED5A-A07A-189A-B8C6-76C376A6C36C}"/>
            </a:ext>
          </a:extLst>
        </p:cNvPr>
        <p:cNvGrpSpPr/>
        <p:nvPr/>
      </p:nvGrpSpPr>
      <p:grpSpPr>
        <a:xfrm>
          <a:off x="0" y="0"/>
          <a:ext cx="0" cy="0"/>
          <a:chOff x="0" y="0"/>
          <a:chExt cx="0" cy="0"/>
        </a:xfrm>
      </p:grpSpPr>
      <p:sp>
        <p:nvSpPr>
          <p:cNvPr id="4" name="Content Placeholder 3">
            <a:extLst>
              <a:ext uri="{FF2B5EF4-FFF2-40B4-BE49-F238E27FC236}">
                <a16:creationId xmlns:a16="http://schemas.microsoft.com/office/drawing/2014/main" id="{A7B3231C-6806-A928-1975-D389533DACB3}"/>
              </a:ext>
            </a:extLst>
          </p:cNvPr>
          <p:cNvSpPr>
            <a:spLocks noGrp="1"/>
          </p:cNvSpPr>
          <p:nvPr>
            <p:ph type="body" sz="quarter" idx="10"/>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6096000" y="1021578"/>
            <a:ext cx="5909733" cy="1411830"/>
          </a:xfrm>
        </p:spPr>
        <p:txBody>
          <a:bodyPr>
            <a:normAutofit/>
          </a:bodyPr>
          <a:lstStyle/>
          <a:p>
            <a:pPr marL="0" indent="0">
              <a:spcBef>
                <a:spcPts val="2500"/>
              </a:spcBef>
              <a:buNone/>
            </a:pPr>
            <a:endParaRPr lang="en-US" sz="1400" b="1"/>
          </a:p>
          <a:p>
            <a:pPr marL="0" lvl="1" indent="0">
              <a:buNone/>
            </a:pPr>
            <a:r>
              <a:rPr lang="en-US" sz="1400"/>
              <a:t>To use Agentforce for Developers, Require latest version of Visual Studio and with Agentforce for Developers Extension.</a:t>
            </a:r>
            <a:endParaRPr lang="en-IN" sz="1400"/>
          </a:p>
        </p:txBody>
      </p:sp>
      <p:pic>
        <p:nvPicPr>
          <p:cNvPr id="5" name="Content Placeholder 4" descr="a programmer is debugging his code (code is mirrored horizontally)&#10;&#10;view more similar files:&#10;[url=search/portfolio/248175/?facets={%2235%22:%5B%22technology%22,%22OR%20computer%22,%22OR%20camera%22,%22OR%20internet%22%5D,%229%22:0,%2230%22:%22100%22}][img]http://www.photonullplus.de/misc/istock/istock-thumb-tech.jpg[/img][/url] [url=search/portfolio/248175/?facets={%2235%22:%5B%22job%22,%22OR%20work%22,%22OR%20messenger%22%5D,%229%22:0,%2230%22:%22100%22}][img]http://www.photonullplus.de/misc/istock/istock-thumb-jobs.jpg[/img][/url]&#10;&#10;[url=file_closeup.php?id=9924417][img]file_thumbview_approve.php?size=1&amp;id=9924417[/img][/url] [url=file_closeup.php?id=9880384][img]file_thumbview_approve.php?size=1&amp;id=9880384[/img][/url] [url=file_closeup.php?id=9880369][img]file_thumbview_approve.php?size=1&amp;id=9880369[/img][/url] [url=file_closeup.php?id=9880343][img]file_thumbview_approve.php?size=1&amp;id=9880343[/img][/url] [url=file_closeup.php?id=9880317][img]file_thumbview_approve.php?size=1&amp;id=9880317[/img][/url] [url=file_closeup.php?id=9422617][img]file_thumbview_approve.php?size=1&amp;id=9422617[/img][/url] [url=file_closeup.php?id=9422623][img]file_thumbview_approve.php?size=1&amp;id=9422623[/img][/url] [url=file_closeup.php?id=16508469][img]file_thumbview_approve.php?size=1&amp;id=16508469[/img][/url] [url=file_closeup.php?id=16863859][img]file_thumbview_approve.php?size=1&amp;id=16863859[/img][/url] [url=file_closeup.php?id=16863845][img]file_thumbview_approve.php?size=1&amp;id=16863845[/img][/url] [url=file_closeup.php?id=17323807][img]file_thumbview_approve.php?size=1&amp;id=17323807[/img][/url] [url=file_closeup.php?id=17323693][img]file_thumbview_approve.php?size=1&amp;id=17323693[/img][/url] [url=file_closeup.php?id=18279006][img]file_thumbview_approve.php?size=1&amp;id=18279006[/img][/url] [url=file_closeup.php?id=18279019][img]file_thumbview_approve.php?size=1&amp;id=18279019[/img][/url]">
            <a:extLst>
              <a:ext uri="{FF2B5EF4-FFF2-40B4-BE49-F238E27FC236}">
                <a16:creationId xmlns:a16="http://schemas.microsoft.com/office/drawing/2014/main" id="{9CDE64FE-0F85-81AF-E4AB-93742D5FE1D4}"/>
              </a:ext>
            </a:extLst>
          </p:cNvPr>
          <p:cNvPicPr>
            <a:picLocks noGrp="1" noChangeAspect="1"/>
          </p:cNvPicPr>
          <p:nvPr>
            <p:ph sz="half" idx="4294967295"/>
          </p:nvPr>
        </p:nvPicPr>
        <p:blipFill>
          <a:blip r:embed="rId3"/>
          <a:srcRect l="24827" r="-1" b="-1"/>
          <a:stretch/>
        </p:blipFill>
        <p:spPr>
          <a:xfrm>
            <a:off x="0" y="143139"/>
            <a:ext cx="5909733" cy="6858000"/>
          </a:xfrm>
          <a:prstGeom prst="rect">
            <a:avLst/>
          </a:prstGeom>
        </p:spPr>
      </p:pic>
      <p:sp>
        <p:nvSpPr>
          <p:cNvPr id="2" name="Title 1">
            <a:extLst>
              <a:ext uri="{FF2B5EF4-FFF2-40B4-BE49-F238E27FC236}">
                <a16:creationId xmlns:a16="http://schemas.microsoft.com/office/drawing/2014/main" id="{3DF9F50A-2DE5-EA5D-AD03-ED26420099BB}"/>
              </a:ext>
            </a:extLst>
          </p:cNvPr>
          <p:cNvSpPr>
            <a:spLocks noGrp="1"/>
          </p:cNvSpPr>
          <p:nvPr>
            <p:ph type="title" idx="4294967295"/>
          </p:nvPr>
        </p:nvSpPr>
        <p:spPr>
          <a:xfrm>
            <a:off x="6032500" y="271106"/>
            <a:ext cx="6159500" cy="889000"/>
          </a:xfrm>
        </p:spPr>
        <p:txBody>
          <a:bodyPr vert="horz" lIns="91440" tIns="45720" rIns="91440" bIns="45720" rtlCol="0" anchor="b">
            <a:normAutofit/>
          </a:bodyPr>
          <a:lstStyle/>
          <a:p>
            <a:r>
              <a:rPr lang="en-US" b="1" kern="1200">
                <a:solidFill>
                  <a:schemeClr val="bg1"/>
                </a:solidFill>
                <a:latin typeface="+mj-lt"/>
                <a:ea typeface="+mj-ea"/>
                <a:cs typeface="+mj-cs"/>
              </a:rPr>
              <a:t>Agentforce for Developers Setup</a:t>
            </a:r>
          </a:p>
        </p:txBody>
      </p:sp>
      <p:sp>
        <p:nvSpPr>
          <p:cNvPr id="3" name="Title 1">
            <a:extLst>
              <a:ext uri="{FF2B5EF4-FFF2-40B4-BE49-F238E27FC236}">
                <a16:creationId xmlns:a16="http://schemas.microsoft.com/office/drawing/2014/main" id="{0FED7942-13D1-E434-E620-F147973900EE}"/>
              </a:ext>
            </a:extLst>
          </p:cNvPr>
          <p:cNvSpPr txBox="1">
            <a:spLocks/>
          </p:cNvSpPr>
          <p:nvPr/>
        </p:nvSpPr>
        <p:spPr>
          <a:xfrm>
            <a:off x="6096000" y="2560373"/>
            <a:ext cx="4683717" cy="69317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a:ln>
                  <a:noFill/>
                </a:ln>
                <a:solidFill>
                  <a:schemeClr val="bg1"/>
                </a:solidFill>
                <a:effectLst/>
                <a:uLnTx/>
                <a:uFillTx/>
                <a:latin typeface="Neue Haas Grotesk Text Pro"/>
                <a:ea typeface="+mj-ea"/>
                <a:cs typeface="+mj-cs"/>
              </a:rPr>
              <a:t>Activation</a:t>
            </a:r>
          </a:p>
        </p:txBody>
      </p:sp>
      <p:sp>
        <p:nvSpPr>
          <p:cNvPr id="6" name="Content Placeholder 3">
            <a:extLst>
              <a:ext uri="{FF2B5EF4-FFF2-40B4-BE49-F238E27FC236}">
                <a16:creationId xmlns:a16="http://schemas.microsoft.com/office/drawing/2014/main" id="{EF1D9516-5C00-CA89-5A98-34BA80A6B375}"/>
              </a:ext>
            </a:extLst>
          </p:cNvPr>
          <p:cNvSpPr txBox="1">
            <a:spLocks/>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6096000" y="3183880"/>
            <a:ext cx="4521014" cy="1452144"/>
          </a:xfrm>
          <a:prstGeom prst="rect">
            <a:avLst/>
          </a:prstGeom>
        </p:spPr>
        <p:txBody>
          <a:bodyPr vert="horz" lIns="91440" tIns="45720" rIns="91440" bIns="45720" rtlCol="0">
            <a:normAutofit/>
          </a:bodyPr>
          <a:lstStyle>
            <a:lvl1pPr marL="228600" indent="-228600" algn="l" defTabSz="914400" rtl="0" eaLnBrk="1" latinLnBrk="0" hangingPunct="1">
              <a:lnSpc>
                <a:spcPct val="120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2pPr>
            <a:lvl3pPr marL="6858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3pPr>
            <a:lvl4pPr marL="9144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4pPr>
            <a:lvl5pPr marL="11430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2500"/>
              </a:spcBef>
              <a:spcAft>
                <a:spcPts val="0"/>
              </a:spcAft>
              <a:buClrTx/>
              <a:buSzTx/>
              <a:buFont typeface="Arial" panose="020B0604020202020204" pitchFamily="34" charset="0"/>
              <a:buNone/>
              <a:tabLst/>
              <a:defRPr/>
            </a:pPr>
            <a:endParaRPr kumimoji="0" lang="en-US" sz="1400" b="1" i="0" u="none" strike="noStrike" kern="1200" cap="none" spc="0" normalizeH="0" baseline="0" noProof="0">
              <a:ln>
                <a:noFill/>
              </a:ln>
              <a:solidFill>
                <a:schemeClr val="bg1"/>
              </a:solidFill>
              <a:effectLst/>
              <a:uLnTx/>
              <a:uFillTx/>
              <a:latin typeface="Neue Haas Grotesk Text Pro"/>
              <a:ea typeface="+mn-ea"/>
              <a:cs typeface="+mn-cs"/>
            </a:endParaRPr>
          </a:p>
          <a:p>
            <a:pPr marL="0" marR="0" lvl="1" indent="0" algn="l" defTabSz="914400" rtl="0" eaLnBrk="1" fontAlgn="auto" latinLnBrk="0" hangingPunct="1">
              <a:lnSpc>
                <a:spcPct val="120000"/>
              </a:lnSpc>
              <a:spcBef>
                <a:spcPts val="5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Neue Haas Grotesk Text Pro"/>
                <a:ea typeface="+mn-ea"/>
                <a:cs typeface="+mn-cs"/>
              </a:rPr>
              <a:t>No Specific Activation is required. Agent force for Developers extension is </a:t>
            </a:r>
            <a:r>
              <a:rPr lang="en-US" sz="1400">
                <a:solidFill>
                  <a:schemeClr val="bg1"/>
                </a:solidFill>
                <a:latin typeface="Neue Haas Grotesk Text Pro"/>
              </a:rPr>
              <a:t>free to use.</a:t>
            </a:r>
            <a:endParaRPr kumimoji="0" lang="en-IN" sz="1400" b="0" i="0" u="none" strike="noStrike" kern="1200" cap="none" spc="0" normalizeH="0" baseline="0" noProof="0">
              <a:ln>
                <a:noFill/>
              </a:ln>
              <a:solidFill>
                <a:schemeClr val="bg1"/>
              </a:solidFill>
              <a:effectLst/>
              <a:uLnTx/>
              <a:uFillTx/>
              <a:latin typeface="Neue Haas Grotesk Text Pro"/>
            </a:endParaRPr>
          </a:p>
        </p:txBody>
      </p:sp>
    </p:spTree>
    <p:extLst>
      <p:ext uri="{BB962C8B-B14F-4D97-AF65-F5344CB8AC3E}">
        <p14:creationId xmlns:p14="http://schemas.microsoft.com/office/powerpoint/2010/main" val="750999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250"/>
                                  </p:stCondLst>
                                  <p:iterate>
                                    <p:tmPct val="10000"/>
                                  </p:iterate>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A64A42E7-21F3-F891-E1CB-7ECC1FC93E94}"/>
              </a:ext>
            </a:extLst>
          </p:cNvPr>
          <p:cNvSpPr>
            <a:spLocks noGrp="1"/>
          </p:cNvSpPr>
          <p:nvPr>
            <p:ph type="pic" sz="quarter" idx="10"/>
          </p:nvPr>
        </p:nvSpPr>
        <p:spPr>
          <a:xfrm>
            <a:off x="0" y="0"/>
            <a:ext cx="12192000" cy="6858000"/>
          </a:xfrm>
        </p:spPr>
        <p:txBody>
          <a:bodyPr/>
          <a:lstStyle/>
          <a:p>
            <a:r>
              <a:rPr lang="en-US"/>
              <a:t> </a:t>
            </a:r>
          </a:p>
        </p:txBody>
      </p:sp>
      <p:sp>
        <p:nvSpPr>
          <p:cNvPr id="21" name="Rectangle: Rounded Corners 20">
            <a:extLst>
              <a:ext uri="{FF2B5EF4-FFF2-40B4-BE49-F238E27FC236}">
                <a16:creationId xmlns:a16="http://schemas.microsoft.com/office/drawing/2014/main" id="{764DD033-BACE-65A3-BA05-4FB4D7829207}"/>
              </a:ext>
            </a:extLst>
          </p:cNvPr>
          <p:cNvSpPr/>
          <p:nvPr/>
        </p:nvSpPr>
        <p:spPr>
          <a:xfrm>
            <a:off x="1412748" y="1548991"/>
            <a:ext cx="8695944" cy="703855"/>
          </a:xfrm>
          <a:prstGeom prst="roundRect">
            <a:avLst>
              <a:gd name="adj" fmla="val 50000"/>
            </a:avLst>
          </a:prstGeom>
        </p:spPr>
        <p:style>
          <a:lnRef idx="0">
            <a:schemeClr val="dk1">
              <a:hueOff val="0"/>
              <a:satOff val="0"/>
              <a:lumOff val="0"/>
              <a:alphaOff val="0"/>
            </a:schemeClr>
          </a:lnRef>
          <a:fillRef idx="1">
            <a:schemeClr val="bg1">
              <a:lumMod val="95000"/>
              <a:hueOff val="0"/>
              <a:satOff val="0"/>
              <a:lumOff val="0"/>
              <a:alphaOff val="0"/>
            </a:schemeClr>
          </a:fillRef>
          <a:effectRef idx="0">
            <a:schemeClr val="bg1">
              <a:lumMod val="95000"/>
              <a:hueOff val="0"/>
              <a:satOff val="0"/>
              <a:lumOff val="0"/>
              <a:alphaOff val="0"/>
            </a:schemeClr>
          </a:effectRef>
          <a:fontRef idx="minor">
            <a:schemeClr val="dk1">
              <a:hueOff val="0"/>
              <a:satOff val="0"/>
              <a:lumOff val="0"/>
              <a:alphaOff val="0"/>
            </a:schemeClr>
          </a:fontRef>
        </p:style>
        <p:txBody>
          <a:bodyPr/>
          <a:lstStyle/>
          <a:p>
            <a:r>
              <a:rPr lang="en-US"/>
              <a:t>                     Agent force for Developers  Extension</a:t>
            </a:r>
          </a:p>
          <a:p>
            <a:endParaRPr lang="en-US"/>
          </a:p>
        </p:txBody>
      </p:sp>
      <p:sp>
        <p:nvSpPr>
          <p:cNvPr id="34" name="Rectangle 33" descr="Megaphone">
            <a:extLst>
              <a:ext uri="{FF2B5EF4-FFF2-40B4-BE49-F238E27FC236}">
                <a16:creationId xmlns:a16="http://schemas.microsoft.com/office/drawing/2014/main" id="{A59AC24B-A54C-E387-1FA5-D2BFF2509F91}"/>
              </a:ext>
            </a:extLst>
          </p:cNvPr>
          <p:cNvSpPr/>
          <p:nvPr/>
        </p:nvSpPr>
        <p:spPr>
          <a:xfrm>
            <a:off x="1706864" y="1495140"/>
            <a:ext cx="578756" cy="585146"/>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n-US"/>
          </a:p>
        </p:txBody>
      </p:sp>
      <p:sp>
        <p:nvSpPr>
          <p:cNvPr id="38" name="Rectangle: Rounded Corners 37">
            <a:extLst>
              <a:ext uri="{FF2B5EF4-FFF2-40B4-BE49-F238E27FC236}">
                <a16:creationId xmlns:a16="http://schemas.microsoft.com/office/drawing/2014/main" id="{087D49B8-D2A1-2C81-AF83-C552D26E70FA}"/>
              </a:ext>
            </a:extLst>
          </p:cNvPr>
          <p:cNvSpPr/>
          <p:nvPr/>
        </p:nvSpPr>
        <p:spPr>
          <a:xfrm>
            <a:off x="1412748" y="2369488"/>
            <a:ext cx="8695944" cy="656424"/>
          </a:xfrm>
          <a:prstGeom prst="roundRect">
            <a:avLst>
              <a:gd name="adj" fmla="val 50000"/>
            </a:avLst>
          </a:prstGeom>
        </p:spPr>
        <p:style>
          <a:lnRef idx="0">
            <a:schemeClr val="dk1">
              <a:hueOff val="0"/>
              <a:satOff val="0"/>
              <a:lumOff val="0"/>
              <a:alphaOff val="0"/>
            </a:schemeClr>
          </a:lnRef>
          <a:fillRef idx="1">
            <a:schemeClr val="bg1">
              <a:lumMod val="95000"/>
              <a:hueOff val="0"/>
              <a:satOff val="0"/>
              <a:lumOff val="0"/>
              <a:alphaOff val="0"/>
            </a:schemeClr>
          </a:fillRef>
          <a:effectRef idx="0">
            <a:schemeClr val="bg1">
              <a:lumMod val="95000"/>
              <a:hueOff val="0"/>
              <a:satOff val="0"/>
              <a:lumOff val="0"/>
              <a:alphaOff val="0"/>
            </a:schemeClr>
          </a:effectRef>
          <a:fontRef idx="minor">
            <a:schemeClr val="dk1">
              <a:hueOff val="0"/>
              <a:satOff val="0"/>
              <a:lumOff val="0"/>
              <a:alphaOff val="0"/>
            </a:schemeClr>
          </a:fontRef>
        </p:style>
        <p:txBody>
          <a:bodyPr/>
          <a:lstStyle/>
          <a:p>
            <a:r>
              <a:rPr lang="en-US"/>
              <a:t>                     Add the extension in your VS code and Chat with Dev Assistant</a:t>
            </a:r>
          </a:p>
          <a:p>
            <a:endParaRPr lang="en-US"/>
          </a:p>
          <a:p>
            <a:endParaRPr lang="en-US"/>
          </a:p>
        </p:txBody>
      </p:sp>
      <p:sp>
        <p:nvSpPr>
          <p:cNvPr id="35" name="Rectangle 34" descr="Programmer male with solid fill">
            <a:extLst>
              <a:ext uri="{FF2B5EF4-FFF2-40B4-BE49-F238E27FC236}">
                <a16:creationId xmlns:a16="http://schemas.microsoft.com/office/drawing/2014/main" id="{48159ECA-1656-A6AE-B5C6-2BD293A44F90}"/>
              </a:ext>
            </a:extLst>
          </p:cNvPr>
          <p:cNvSpPr/>
          <p:nvPr/>
        </p:nvSpPr>
        <p:spPr>
          <a:xfrm>
            <a:off x="1706864" y="2579427"/>
            <a:ext cx="617208" cy="307667"/>
          </a:xfrm>
          <a:prstGeom prst="rect">
            <a:avLst/>
          </a:prstGeom>
          <a:blipFill>
            <a:blip r:embed="rId4">
              <a:extLst>
                <a:ext uri="{96DAC541-7B7A-43D3-8B79-37D633B846F1}">
                  <asvg:svgBlip xmlns:asvg="http://schemas.microsoft.com/office/drawing/2016/SVG/main" r:embed="rId5"/>
                </a:ext>
              </a:extLst>
            </a:blip>
            <a:srcRect/>
            <a:stretch>
              <a:fillRect/>
            </a:stretch>
          </a:blipFill>
          <a:ln>
            <a:solidFill>
              <a:srgbClr val="0070C0"/>
            </a:solidFill>
          </a:ln>
        </p:spPr>
        <p:style>
          <a:lnRef idx="2">
            <a:scrgbClr r="0" g="0" b="0"/>
          </a:lnRef>
          <a:fillRef idx="1">
            <a:scrgbClr r="0" g="0" b="0"/>
          </a:fillRef>
          <a:effectRef idx="0">
            <a:schemeClr val="accent3">
              <a:hueOff val="0"/>
              <a:satOff val="0"/>
              <a:lumOff val="0"/>
              <a:alphaOff val="0"/>
            </a:schemeClr>
          </a:effectRef>
          <a:fontRef idx="minor">
            <a:schemeClr val="lt1"/>
          </a:fontRef>
        </p:style>
        <p:txBody>
          <a:bodyPr/>
          <a:lstStyle/>
          <a:p>
            <a:endParaRPr lang="en-US"/>
          </a:p>
        </p:txBody>
      </p:sp>
      <p:sp>
        <p:nvSpPr>
          <p:cNvPr id="39" name="Rectangle: Rounded Corners 38">
            <a:extLst>
              <a:ext uri="{FF2B5EF4-FFF2-40B4-BE49-F238E27FC236}">
                <a16:creationId xmlns:a16="http://schemas.microsoft.com/office/drawing/2014/main" id="{BBD84C14-3E37-35CC-41DB-89AECD991CF0}"/>
              </a:ext>
            </a:extLst>
          </p:cNvPr>
          <p:cNvSpPr/>
          <p:nvPr/>
        </p:nvSpPr>
        <p:spPr>
          <a:xfrm>
            <a:off x="1444752" y="3217632"/>
            <a:ext cx="8695943" cy="656425"/>
          </a:xfrm>
          <a:prstGeom prst="roundRect">
            <a:avLst>
              <a:gd name="adj" fmla="val 50000"/>
            </a:avLst>
          </a:prstGeom>
        </p:spPr>
        <p:style>
          <a:lnRef idx="0">
            <a:schemeClr val="dk1">
              <a:hueOff val="0"/>
              <a:satOff val="0"/>
              <a:lumOff val="0"/>
              <a:alphaOff val="0"/>
            </a:schemeClr>
          </a:lnRef>
          <a:fillRef idx="1">
            <a:schemeClr val="bg1">
              <a:lumMod val="95000"/>
              <a:hueOff val="0"/>
              <a:satOff val="0"/>
              <a:lumOff val="0"/>
              <a:alphaOff val="0"/>
            </a:schemeClr>
          </a:fillRef>
          <a:effectRef idx="0">
            <a:schemeClr val="bg1">
              <a:lumMod val="95000"/>
              <a:hueOff val="0"/>
              <a:satOff val="0"/>
              <a:lumOff val="0"/>
              <a:alphaOff val="0"/>
            </a:schemeClr>
          </a:effectRef>
          <a:fontRef idx="minor">
            <a:schemeClr val="dk1">
              <a:hueOff val="0"/>
              <a:satOff val="0"/>
              <a:lumOff val="0"/>
              <a:alphaOff val="0"/>
            </a:schemeClr>
          </a:fontRef>
        </p:style>
        <p:txBody>
          <a:bodyPr/>
          <a:lstStyle/>
          <a:p>
            <a:r>
              <a:rPr lang="en-US"/>
              <a:t>                     Create, Read, Modify the code- based on the prompt </a:t>
            </a:r>
          </a:p>
          <a:p>
            <a:endParaRPr lang="en-US"/>
          </a:p>
          <a:p>
            <a:endParaRPr lang="en-US"/>
          </a:p>
        </p:txBody>
      </p:sp>
      <p:sp>
        <p:nvSpPr>
          <p:cNvPr id="36" name="Rectangle 35" descr="Popsicle">
            <a:extLst>
              <a:ext uri="{FF2B5EF4-FFF2-40B4-BE49-F238E27FC236}">
                <a16:creationId xmlns:a16="http://schemas.microsoft.com/office/drawing/2014/main" id="{369A27DD-6DB0-368A-A00C-67EF7A9F289E}"/>
              </a:ext>
            </a:extLst>
          </p:cNvPr>
          <p:cNvSpPr/>
          <p:nvPr/>
        </p:nvSpPr>
        <p:spPr>
          <a:xfrm>
            <a:off x="1711239" y="3393655"/>
            <a:ext cx="580829" cy="375506"/>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solidFill>
              <a:srgbClr val="0070C0"/>
            </a:solidFill>
          </a:ln>
        </p:spPr>
        <p:style>
          <a:lnRef idx="2">
            <a:scrgbClr r="0" g="0" b="0"/>
          </a:lnRef>
          <a:fillRef idx="1">
            <a:scrgbClr r="0" g="0" b="0"/>
          </a:fillRef>
          <a:effectRef idx="0">
            <a:schemeClr val="accent4">
              <a:hueOff val="0"/>
              <a:satOff val="0"/>
              <a:lumOff val="0"/>
              <a:alphaOff val="0"/>
            </a:schemeClr>
          </a:effectRef>
          <a:fontRef idx="minor">
            <a:schemeClr val="lt1"/>
          </a:fontRef>
        </p:style>
        <p:txBody>
          <a:bodyPr/>
          <a:lstStyle/>
          <a:p>
            <a:endParaRPr lang="en-US"/>
          </a:p>
        </p:txBody>
      </p:sp>
      <p:sp>
        <p:nvSpPr>
          <p:cNvPr id="40" name="Rectangle: Rounded Corners 39">
            <a:extLst>
              <a:ext uri="{FF2B5EF4-FFF2-40B4-BE49-F238E27FC236}">
                <a16:creationId xmlns:a16="http://schemas.microsoft.com/office/drawing/2014/main" id="{81AC319E-CB61-F76B-841F-EB071C8E3A57}"/>
              </a:ext>
            </a:extLst>
          </p:cNvPr>
          <p:cNvSpPr/>
          <p:nvPr/>
        </p:nvSpPr>
        <p:spPr>
          <a:xfrm>
            <a:off x="1412747" y="4079790"/>
            <a:ext cx="8695943" cy="759054"/>
          </a:xfrm>
          <a:prstGeom prst="roundRect">
            <a:avLst>
              <a:gd name="adj" fmla="val 50000"/>
            </a:avLst>
          </a:prstGeom>
        </p:spPr>
        <p:style>
          <a:lnRef idx="0">
            <a:schemeClr val="dk1">
              <a:hueOff val="0"/>
              <a:satOff val="0"/>
              <a:lumOff val="0"/>
              <a:alphaOff val="0"/>
            </a:schemeClr>
          </a:lnRef>
          <a:fillRef idx="1">
            <a:schemeClr val="bg1">
              <a:lumMod val="95000"/>
              <a:hueOff val="0"/>
              <a:satOff val="0"/>
              <a:lumOff val="0"/>
              <a:alphaOff val="0"/>
            </a:schemeClr>
          </a:fillRef>
          <a:effectRef idx="0">
            <a:schemeClr val="bg1">
              <a:lumMod val="95000"/>
              <a:hueOff val="0"/>
              <a:satOff val="0"/>
              <a:lumOff val="0"/>
              <a:alphaOff val="0"/>
            </a:schemeClr>
          </a:effectRef>
          <a:fontRef idx="minor">
            <a:schemeClr val="dk1">
              <a:hueOff val="0"/>
              <a:satOff val="0"/>
              <a:lumOff val="0"/>
              <a:alphaOff val="0"/>
            </a:schemeClr>
          </a:fontRef>
        </p:style>
        <p:txBody>
          <a:bodyPr/>
          <a:lstStyle/>
          <a:p>
            <a:pPr marR="0" lvl="0" algn="l" defTabSz="914400" rtl="0" eaLnBrk="1" fontAlgn="auto" latinLnBrk="0" hangingPunct="1">
              <a:lnSpc>
                <a:spcPct val="100000"/>
              </a:lnSpc>
              <a:spcBef>
                <a:spcPts val="0"/>
              </a:spcBef>
              <a:spcAft>
                <a:spcPts val="0"/>
              </a:spcAft>
              <a:buClrTx/>
              <a:buSzTx/>
              <a:tabLst/>
              <a:defRPr/>
            </a:pPr>
            <a:r>
              <a:rPr lang="en-US"/>
              <a:t>	    Create Apex Classes/ LWC/Modify Code/Test class,  Explain the Code,</a:t>
            </a:r>
          </a:p>
          <a:p>
            <a:pPr marR="0" lvl="0" algn="l" defTabSz="914400" rtl="0" eaLnBrk="1" fontAlgn="auto" latinLnBrk="0" hangingPunct="1">
              <a:lnSpc>
                <a:spcPct val="100000"/>
              </a:lnSpc>
              <a:spcBef>
                <a:spcPts val="0"/>
              </a:spcBef>
              <a:spcAft>
                <a:spcPts val="0"/>
              </a:spcAft>
              <a:buClrTx/>
              <a:buSzTx/>
              <a:tabLst/>
              <a:defRPr/>
            </a:pPr>
            <a:r>
              <a:rPr lang="en-US"/>
              <a:t>	     Generate the Document of the code</a:t>
            </a:r>
          </a:p>
          <a:p>
            <a:endParaRPr lang="en-US"/>
          </a:p>
          <a:p>
            <a:endParaRPr lang="en-US"/>
          </a:p>
        </p:txBody>
      </p:sp>
      <p:pic>
        <p:nvPicPr>
          <p:cNvPr id="37" name="Graphic 36" descr="Advertising outline">
            <a:extLst>
              <a:ext uri="{FF2B5EF4-FFF2-40B4-BE49-F238E27FC236}">
                <a16:creationId xmlns:a16="http://schemas.microsoft.com/office/drawing/2014/main" id="{E13844D4-72A2-C113-8C87-DCB4F57111C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30896" y="4245120"/>
            <a:ext cx="505135" cy="494974"/>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5742128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a:extLst>
            <a:ext uri="{FF2B5EF4-FFF2-40B4-BE49-F238E27FC236}">
              <a16:creationId xmlns:a16="http://schemas.microsoft.com/office/drawing/2014/main" id="{95739965-28D8-786C-883B-0AE282FDA525}"/>
            </a:ext>
          </a:extLst>
        </p:cNvPr>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6CB79350-BDA6-0722-EA57-3B52CE15412A}"/>
              </a:ext>
            </a:extLst>
          </p:cNvPr>
          <p:cNvSpPr>
            <a:spLocks noGrp="1"/>
          </p:cNvSpPr>
          <p:nvPr>
            <p:ph type="pic" sz="quarter" idx="10"/>
          </p:nvPr>
        </p:nvSpPr>
        <p:spPr>
          <a:xfrm>
            <a:off x="0" y="0"/>
            <a:ext cx="12192000" cy="6858000"/>
          </a:xfrm>
        </p:spPr>
        <p:txBody>
          <a:bodyPr/>
          <a:lstStyle/>
          <a:p>
            <a:r>
              <a:rPr lang="en-US"/>
              <a:t> </a:t>
            </a:r>
          </a:p>
        </p:txBody>
      </p:sp>
      <p:sp>
        <p:nvSpPr>
          <p:cNvPr id="2" name="TextBox 1">
            <a:extLst>
              <a:ext uri="{FF2B5EF4-FFF2-40B4-BE49-F238E27FC236}">
                <a16:creationId xmlns:a16="http://schemas.microsoft.com/office/drawing/2014/main" id="{7CDE3869-5449-1EDD-330F-AF085484649B}"/>
              </a:ext>
            </a:extLst>
          </p:cNvPr>
          <p:cNvSpPr txBox="1"/>
          <p:nvPr/>
        </p:nvSpPr>
        <p:spPr>
          <a:xfrm>
            <a:off x="265176" y="1255727"/>
            <a:ext cx="11292840" cy="3416320"/>
          </a:xfrm>
          <a:prstGeom prst="rect">
            <a:avLst/>
          </a:prstGeom>
          <a:noFill/>
        </p:spPr>
        <p:txBody>
          <a:bodyPr wrap="square" rtlCol="0">
            <a:spAutoFit/>
          </a:bodyPr>
          <a:lstStyle/>
          <a:p>
            <a:r>
              <a:rPr lang="en-US">
                <a:solidFill>
                  <a:schemeClr val="bg2"/>
                </a:solidFill>
              </a:rPr>
              <a:t>The Agent force for Developers extension is an AI-powered developer tool that's available as an easy-to-install Visual Studio Code extension. .Built using Code Gen secure, custom AI models from Salesforce. </a:t>
            </a:r>
          </a:p>
          <a:p>
            <a:endParaRPr lang="en-US">
              <a:solidFill>
                <a:schemeClr val="bg2"/>
              </a:solidFill>
            </a:endParaRPr>
          </a:p>
          <a:p>
            <a:r>
              <a:rPr lang="en-US">
                <a:solidFill>
                  <a:schemeClr val="bg2"/>
                </a:solidFill>
              </a:rPr>
              <a:t>The extension is available in the VS Code and Open VSX marketplaces as a part of the Salesforce Extension Pack), in the VS Code desktop application, and in Code Builder.</a:t>
            </a:r>
          </a:p>
          <a:p>
            <a:endParaRPr lang="en-US">
              <a:solidFill>
                <a:schemeClr val="bg2"/>
              </a:solidFill>
            </a:endParaRPr>
          </a:p>
          <a:p>
            <a:r>
              <a:rPr lang="en-US">
                <a:solidFill>
                  <a:schemeClr val="bg2"/>
                </a:solidFill>
              </a:rPr>
              <a:t>Salesforce has given some trailheads for the installation and usage guide. Please refer above links</a:t>
            </a:r>
          </a:p>
          <a:p>
            <a:endParaRPr lang="en-US">
              <a:solidFill>
                <a:schemeClr val="bg2"/>
              </a:solidFill>
            </a:endParaRPr>
          </a:p>
          <a:p>
            <a:r>
              <a:rPr lang="en-US">
                <a:solidFill>
                  <a:schemeClr val="bg2"/>
                </a:solidFill>
              </a:rPr>
              <a:t>1) </a:t>
            </a:r>
            <a:r>
              <a:rPr lang="en-US">
                <a:solidFill>
                  <a:srgbClr val="00BFBF"/>
                </a:solidFill>
                <a:hlinkClick r:id="rId2" tooltip="https://developer.salesforce.com/docs/platform/einstein-for-devs/guide/einstein-setup.html">
                  <a:extLst>
                    <a:ext uri="{A12FA001-AC4F-418D-AE19-62706E023703}">
                      <ahyp:hlinkClr xmlns:ahyp="http://schemas.microsoft.com/office/drawing/2018/hyperlinkcolor" val="tx"/>
                    </a:ext>
                  </a:extLst>
                </a:hlinkClick>
              </a:rPr>
              <a:t>https://developer.salesforce.com/docs/platform/einstein-for-devs/guide/einstein-setup.html</a:t>
            </a:r>
            <a:endParaRPr lang="en-US">
              <a:solidFill>
                <a:srgbClr val="00BFBF"/>
              </a:solidFill>
            </a:endParaRPr>
          </a:p>
          <a:p>
            <a:r>
              <a:rPr lang="en-US">
                <a:solidFill>
                  <a:schemeClr val="bg2"/>
                </a:solidFill>
              </a:rPr>
              <a:t>2) </a:t>
            </a:r>
            <a:r>
              <a:rPr lang="en-US">
                <a:hlinkClick r:id="rId3" tooltip="https://trailhead.salesforce.com/content/learn/modules/einstein-for-developers/get-to-know-einstein-for-developers"/>
              </a:rPr>
              <a:t>https://trailhead.salesforce.com/content/learn/modules/einstein-for-developers/get-to-know-einstein-for-developers---</a:t>
            </a:r>
            <a:r>
              <a:rPr lang="en-US"/>
              <a:t> </a:t>
            </a:r>
          </a:p>
          <a:p>
            <a:endParaRPr lang="en-US"/>
          </a:p>
        </p:txBody>
      </p:sp>
      <p:sp>
        <p:nvSpPr>
          <p:cNvPr id="3" name="Title 1">
            <a:extLst>
              <a:ext uri="{FF2B5EF4-FFF2-40B4-BE49-F238E27FC236}">
                <a16:creationId xmlns:a16="http://schemas.microsoft.com/office/drawing/2014/main" id="{508D2D7F-E45F-1EB1-51B7-D626FE625EB1}"/>
              </a:ext>
            </a:extLst>
          </p:cNvPr>
          <p:cNvSpPr txBox="1">
            <a:spLocks/>
          </p:cNvSpPr>
          <p:nvPr/>
        </p:nvSpPr>
        <p:spPr>
          <a:xfrm>
            <a:off x="342900" y="233363"/>
            <a:ext cx="8294688" cy="444500"/>
          </a:xfrm>
          <a:prstGeom prst="rect">
            <a:avLst/>
          </a:prstGeom>
        </p:spPr>
        <p:txBody>
          <a:bodyPr vert="horz" lIns="0" tIns="0" rIns="0" bIns="0" rtlCol="0" anchor="b">
            <a:norm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US">
                <a:solidFill>
                  <a:schemeClr val="bg1"/>
                </a:solidFill>
              </a:rPr>
              <a:t>How to INSTALL</a:t>
            </a:r>
          </a:p>
        </p:txBody>
      </p:sp>
    </p:spTree>
    <p:extLst>
      <p:ext uri="{BB962C8B-B14F-4D97-AF65-F5344CB8AC3E}">
        <p14:creationId xmlns:p14="http://schemas.microsoft.com/office/powerpoint/2010/main" val="8452425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59607EF8-D081-11FC-493A-FB9F05A70417}"/>
            </a:ext>
          </a:extLst>
        </p:cNvPr>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40287B74-CF48-FBC3-F72B-596E106FF07F}"/>
              </a:ext>
            </a:extLst>
          </p:cNvPr>
          <p:cNvSpPr>
            <a:spLocks noGrp="1"/>
          </p:cNvSpPr>
          <p:nvPr>
            <p:ph type="pic" sz="quarter" idx="10"/>
          </p:nvPr>
        </p:nvSpPr>
        <p:spPr>
          <a:xfrm>
            <a:off x="0" y="0"/>
            <a:ext cx="12192000" cy="6858000"/>
          </a:xfrm>
        </p:spPr>
        <p:txBody>
          <a:bodyPr/>
          <a:lstStyle/>
          <a:p>
            <a:r>
              <a:rPr lang="en-US"/>
              <a:t> </a:t>
            </a:r>
          </a:p>
        </p:txBody>
      </p:sp>
      <p:sp>
        <p:nvSpPr>
          <p:cNvPr id="2" name="TextBox 1">
            <a:extLst>
              <a:ext uri="{FF2B5EF4-FFF2-40B4-BE49-F238E27FC236}">
                <a16:creationId xmlns:a16="http://schemas.microsoft.com/office/drawing/2014/main" id="{48F1EEB7-2848-DD6B-3BD9-F154741A2ABE}"/>
              </a:ext>
            </a:extLst>
          </p:cNvPr>
          <p:cNvSpPr txBox="1"/>
          <p:nvPr/>
        </p:nvSpPr>
        <p:spPr>
          <a:xfrm>
            <a:off x="251460" y="1374599"/>
            <a:ext cx="11292840" cy="3693319"/>
          </a:xfrm>
          <a:prstGeom prst="rect">
            <a:avLst/>
          </a:prstGeom>
          <a:noFill/>
        </p:spPr>
        <p:txBody>
          <a:bodyPr wrap="square" rtlCol="0">
            <a:spAutoFit/>
          </a:bodyPr>
          <a:lstStyle/>
          <a:p>
            <a:r>
              <a:rPr lang="en-US">
                <a:solidFill>
                  <a:schemeClr val="bg2"/>
                </a:solidFill>
              </a:rPr>
              <a:t>The Agent force for Developers extension is an AI-powered developer tool that's available as an easy-to-install Visual Studio Code extension. .Built using Code Gen secure, custom AI models from Salesforce. </a:t>
            </a:r>
          </a:p>
          <a:p>
            <a:endParaRPr lang="en-US">
              <a:solidFill>
                <a:schemeClr val="bg2"/>
              </a:solidFill>
            </a:endParaRPr>
          </a:p>
          <a:p>
            <a:r>
              <a:rPr lang="en-US">
                <a:solidFill>
                  <a:schemeClr val="bg2"/>
                </a:solidFill>
              </a:rPr>
              <a:t>The extension is available in the VS Code and Open VSX marketplaces as a part of the Salesforce Extension Pack), in the VS Code desktop application, and in Code Builder.</a:t>
            </a:r>
          </a:p>
          <a:p>
            <a:endParaRPr lang="en-US">
              <a:solidFill>
                <a:schemeClr val="bg2"/>
              </a:solidFill>
            </a:endParaRPr>
          </a:p>
          <a:p>
            <a:r>
              <a:rPr lang="en-US">
                <a:solidFill>
                  <a:schemeClr val="bg2"/>
                </a:solidFill>
              </a:rPr>
              <a:t>Salesforce has given some trailheads for the installation and usage guide. Please refer above links</a:t>
            </a:r>
          </a:p>
          <a:p>
            <a:endParaRPr lang="en-US">
              <a:solidFill>
                <a:schemeClr val="bg2"/>
              </a:solidFill>
            </a:endParaRPr>
          </a:p>
          <a:p>
            <a:r>
              <a:rPr lang="en-US">
                <a:solidFill>
                  <a:schemeClr val="bg2"/>
                </a:solidFill>
              </a:rPr>
              <a:t>1) </a:t>
            </a:r>
            <a:r>
              <a:rPr lang="en-US">
                <a:solidFill>
                  <a:srgbClr val="00BFBF"/>
                </a:solidFill>
                <a:hlinkClick r:id="rId2" tooltip="https://developer.salesforce.com/docs/platform/einstein-for-devs/guide/einstein-setup.html">
                  <a:extLst>
                    <a:ext uri="{A12FA001-AC4F-418D-AE19-62706E023703}">
                      <ahyp:hlinkClr xmlns:ahyp="http://schemas.microsoft.com/office/drawing/2018/hyperlinkcolor" val="tx"/>
                    </a:ext>
                  </a:extLst>
                </a:hlinkClick>
              </a:rPr>
              <a:t>https://developer.salesforce.com/docs/platform/einstein-for-devs/guide/einstein-setup.html</a:t>
            </a:r>
            <a:endParaRPr lang="en-US">
              <a:solidFill>
                <a:srgbClr val="00BFBF"/>
              </a:solidFill>
            </a:endParaRPr>
          </a:p>
          <a:p>
            <a:r>
              <a:rPr lang="en-US">
                <a:solidFill>
                  <a:schemeClr val="bg2"/>
                </a:solidFill>
              </a:rPr>
              <a:t>2) </a:t>
            </a:r>
            <a:r>
              <a:rPr lang="en-US">
                <a:solidFill>
                  <a:srgbClr val="00929B"/>
                </a:solidFill>
                <a:hlinkClick r:id="rId3">
                  <a:extLst>
                    <a:ext uri="{A12FA001-AC4F-418D-AE19-62706E023703}">
                      <ahyp:hlinkClr xmlns:ahyp="http://schemas.microsoft.com/office/drawing/2018/hyperlinkcolor" val="tx"/>
                    </a:ext>
                  </a:extLst>
                </a:hlinkClick>
              </a:rPr>
              <a:t>https://trailhead.salesforce.com/content/learn/modules/einstein-for-developers/</a:t>
            </a:r>
            <a:r>
              <a:rPr lang="en-US">
                <a:solidFill>
                  <a:srgbClr val="00BFBF"/>
                </a:solidFill>
                <a:hlinkClick r:id="rId3">
                  <a:extLst>
                    <a:ext uri="{A12FA001-AC4F-418D-AE19-62706E023703}">
                      <ahyp:hlinkClr xmlns:ahyp="http://schemas.microsoft.com/office/drawing/2018/hyperlinkcolor" val="tx"/>
                    </a:ext>
                  </a:extLst>
                </a:hlinkClick>
              </a:rPr>
              <a:t>get-to-know-einstein-for-developers</a:t>
            </a:r>
            <a:endParaRPr lang="en-US">
              <a:solidFill>
                <a:srgbClr val="00BFBF"/>
              </a:solidFill>
            </a:endParaRPr>
          </a:p>
          <a:p>
            <a:endParaRPr lang="en-US">
              <a:solidFill>
                <a:srgbClr val="00D5D0"/>
              </a:solidFill>
            </a:endParaRPr>
          </a:p>
          <a:p>
            <a:endParaRPr lang="en-US"/>
          </a:p>
        </p:txBody>
      </p:sp>
      <p:sp>
        <p:nvSpPr>
          <p:cNvPr id="3" name="Title 1">
            <a:extLst>
              <a:ext uri="{FF2B5EF4-FFF2-40B4-BE49-F238E27FC236}">
                <a16:creationId xmlns:a16="http://schemas.microsoft.com/office/drawing/2014/main" id="{D74A8FF5-903E-1995-7F38-0CD027E88AF2}"/>
              </a:ext>
            </a:extLst>
          </p:cNvPr>
          <p:cNvSpPr txBox="1">
            <a:spLocks/>
          </p:cNvSpPr>
          <p:nvPr/>
        </p:nvSpPr>
        <p:spPr>
          <a:xfrm>
            <a:off x="315468" y="229802"/>
            <a:ext cx="8294688" cy="444500"/>
          </a:xfrm>
          <a:prstGeom prst="rect">
            <a:avLst/>
          </a:prstGeom>
        </p:spPr>
        <p:txBody>
          <a:bodyPr vert="horz" lIns="0" tIns="0" rIns="0" bIns="0" rtlCol="0" anchor="b">
            <a:norm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US">
                <a:solidFill>
                  <a:schemeClr val="bg1"/>
                </a:solidFill>
              </a:rPr>
              <a:t>How to INSTALL</a:t>
            </a:r>
          </a:p>
        </p:txBody>
      </p:sp>
    </p:spTree>
    <p:extLst>
      <p:ext uri="{BB962C8B-B14F-4D97-AF65-F5344CB8AC3E}">
        <p14:creationId xmlns:p14="http://schemas.microsoft.com/office/powerpoint/2010/main" val="27657340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0F5B85C-919E-474E-C36C-975252032B8E}"/>
            </a:ext>
          </a:extLst>
        </p:cNvPr>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CB8C1152-23BB-F743-9DA6-C944F283B879}"/>
              </a:ext>
            </a:extLst>
          </p:cNvPr>
          <p:cNvSpPr>
            <a:spLocks noGrp="1"/>
          </p:cNvSpPr>
          <p:nvPr>
            <p:ph type="pic" sz="quarter" idx="10"/>
          </p:nvPr>
        </p:nvSpPr>
        <p:spPr>
          <a:xfrm>
            <a:off x="0" y="0"/>
            <a:ext cx="12192000" cy="6858000"/>
          </a:xfrm>
        </p:spPr>
        <p:txBody>
          <a:bodyPr/>
          <a:lstStyle/>
          <a:p>
            <a:r>
              <a:rPr lang="en-US"/>
              <a:t> </a:t>
            </a:r>
          </a:p>
        </p:txBody>
      </p:sp>
      <p:sp>
        <p:nvSpPr>
          <p:cNvPr id="2" name="TextBox 1">
            <a:extLst>
              <a:ext uri="{FF2B5EF4-FFF2-40B4-BE49-F238E27FC236}">
                <a16:creationId xmlns:a16="http://schemas.microsoft.com/office/drawing/2014/main" id="{BE3E81FB-FD71-043A-1C98-3DB380377C94}"/>
              </a:ext>
            </a:extLst>
          </p:cNvPr>
          <p:cNvSpPr txBox="1"/>
          <p:nvPr/>
        </p:nvSpPr>
        <p:spPr>
          <a:xfrm>
            <a:off x="138240" y="1010245"/>
            <a:ext cx="11772900" cy="58477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50"/>
              </a:spcBef>
              <a:spcAft>
                <a:spcPts val="750"/>
              </a:spcAft>
              <a:buClrTx/>
              <a:buSzTx/>
              <a:buFontTx/>
              <a:buNone/>
              <a:tabLst/>
              <a:defRPr/>
            </a:pPr>
            <a:r>
              <a:rPr lang="en-US" sz="1800">
                <a:solidFill>
                  <a:schemeClr val="bg1"/>
                </a:solidFill>
                <a:latin typeface="Ubuntu" panose="020B0504030602030204" pitchFamily="34" charset="0"/>
              </a:rPr>
              <a:t>Agent force for Developers transforms natural language prompts into Apex code and offers intelligent code completions as you type. When used alongside IntelliSense, it significantly enhances the Salesforce development experience in Visual Studio Code. This feature assumes you're already familiar with using VS Code.</a:t>
            </a:r>
          </a:p>
          <a:p>
            <a:pPr marL="0" marR="0" lvl="0" indent="0" algn="l" defTabSz="914400" rtl="0" eaLnBrk="1" fontAlgn="auto" latinLnBrk="0" hangingPunct="1">
              <a:lnSpc>
                <a:spcPct val="100000"/>
              </a:lnSpc>
              <a:spcBef>
                <a:spcPts val="450"/>
              </a:spcBef>
              <a:spcAft>
                <a:spcPts val="750"/>
              </a:spcAft>
              <a:buClrTx/>
              <a:buSzTx/>
              <a:buFontTx/>
              <a:buNone/>
              <a:tabLst/>
              <a:defRPr/>
            </a:pPr>
            <a:r>
              <a:rPr lang="en-US" sz="1800" b="1">
                <a:solidFill>
                  <a:schemeClr val="bg1"/>
                </a:solidFill>
                <a:latin typeface="Ubuntu" panose="020B0504030602030204" pitchFamily="34" charset="0"/>
              </a:rPr>
              <a:t>Dev Assistant</a:t>
            </a:r>
            <a:br>
              <a:rPr lang="en-US" sz="1800">
                <a:solidFill>
                  <a:schemeClr val="bg1"/>
                </a:solidFill>
                <a:latin typeface="Ubuntu" panose="020B0504030602030204" pitchFamily="34" charset="0"/>
              </a:rPr>
            </a:br>
            <a:r>
              <a:rPr lang="en-US" sz="1800">
                <a:solidFill>
                  <a:schemeClr val="bg1"/>
                </a:solidFill>
                <a:latin typeface="Ubuntu" panose="020B0504030602030204" pitchFamily="34" charset="0"/>
              </a:rPr>
              <a:t>Streamline your coding process with the Dev Assistant by your side. Whether you're generating code or diving into Salesforce development, simply ask for help to get started. Use intuitive slash commands to perform specific tasks like interpreting unfamiliar code or enhancing your documentation.</a:t>
            </a:r>
          </a:p>
          <a:p>
            <a:pPr marL="0" marR="0" lvl="0" indent="0" algn="l" defTabSz="914400" rtl="0" eaLnBrk="1" fontAlgn="auto" latinLnBrk="0" hangingPunct="1">
              <a:lnSpc>
                <a:spcPct val="100000"/>
              </a:lnSpc>
              <a:spcBef>
                <a:spcPts val="450"/>
              </a:spcBef>
              <a:spcAft>
                <a:spcPts val="750"/>
              </a:spcAft>
              <a:buClrTx/>
              <a:buSzTx/>
              <a:buFontTx/>
              <a:buNone/>
              <a:tabLst/>
              <a:defRPr/>
            </a:pPr>
            <a:r>
              <a:rPr lang="en-US" sz="1800" b="1">
                <a:solidFill>
                  <a:schemeClr val="bg1"/>
                </a:solidFill>
                <a:latin typeface="Ubuntu" panose="020B0504030602030204" pitchFamily="34" charset="0"/>
              </a:rPr>
              <a:t>Command Palette Integration</a:t>
            </a:r>
            <a:br>
              <a:rPr lang="en-US" sz="1800">
                <a:solidFill>
                  <a:schemeClr val="bg1"/>
                </a:solidFill>
                <a:latin typeface="Ubuntu" panose="020B0504030602030204" pitchFamily="34" charset="0"/>
              </a:rPr>
            </a:br>
            <a:r>
              <a:rPr lang="en-US" sz="1800">
                <a:solidFill>
                  <a:schemeClr val="bg1"/>
                </a:solidFill>
                <a:latin typeface="Ubuntu" panose="020B0504030602030204" pitchFamily="34" charset="0"/>
              </a:rPr>
              <a:t>Access the Agentforce: Generate Code command from the VS Code Command Palette to describe what you want to build. Agentforce will respond with Apex code suggestions directly in your editor.</a:t>
            </a:r>
          </a:p>
          <a:p>
            <a:pPr marL="0" marR="0" lvl="0" indent="0" algn="l" defTabSz="914400" rtl="0" eaLnBrk="1" fontAlgn="auto" latinLnBrk="0" hangingPunct="1">
              <a:lnSpc>
                <a:spcPct val="100000"/>
              </a:lnSpc>
              <a:spcBef>
                <a:spcPts val="450"/>
              </a:spcBef>
              <a:spcAft>
                <a:spcPts val="750"/>
              </a:spcAft>
              <a:buClrTx/>
              <a:buSzTx/>
              <a:buFontTx/>
              <a:buNone/>
              <a:tabLst/>
              <a:defRPr/>
            </a:pPr>
            <a:r>
              <a:rPr lang="en-US" sz="1800" b="1">
                <a:solidFill>
                  <a:schemeClr val="bg1"/>
                </a:solidFill>
                <a:latin typeface="Ubuntu" panose="020B0504030602030204" pitchFamily="34" charset="0"/>
              </a:rPr>
              <a:t>Inline Code Completions</a:t>
            </a:r>
            <a:br>
              <a:rPr lang="en-US" sz="1800">
                <a:solidFill>
                  <a:schemeClr val="bg1"/>
                </a:solidFill>
                <a:latin typeface="Ubuntu" panose="020B0504030602030204" pitchFamily="34" charset="0"/>
              </a:rPr>
            </a:br>
            <a:r>
              <a:rPr lang="en-US" sz="1800">
                <a:solidFill>
                  <a:schemeClr val="bg1"/>
                </a:solidFill>
                <a:latin typeface="Ubuntu" panose="020B0504030602030204" pitchFamily="34" charset="0"/>
              </a:rPr>
              <a:t>As you write, Agentforce for Developers provides real-time code suggestions without disrupting your workflow. You can use this feature in Apex and LWC files, including JavaScript, CSS, and HTML.</a:t>
            </a:r>
          </a:p>
          <a:p>
            <a:pPr marL="0" marR="0" lvl="0" indent="0" algn="l" defTabSz="914400" rtl="0" eaLnBrk="1" fontAlgn="auto" latinLnBrk="0" hangingPunct="1">
              <a:lnSpc>
                <a:spcPct val="100000"/>
              </a:lnSpc>
              <a:spcBef>
                <a:spcPts val="450"/>
              </a:spcBef>
              <a:spcAft>
                <a:spcPts val="750"/>
              </a:spcAft>
              <a:buClrTx/>
              <a:buSzTx/>
              <a:buFontTx/>
              <a:buNone/>
              <a:tabLst/>
              <a:defRPr/>
            </a:pPr>
            <a:r>
              <a:rPr lang="en-US" sz="1800" b="1">
                <a:solidFill>
                  <a:schemeClr val="bg1"/>
                </a:solidFill>
                <a:latin typeface="Ubuntu" panose="020B0504030602030204" pitchFamily="34" charset="0"/>
              </a:rPr>
              <a:t>Test Case Generation</a:t>
            </a:r>
            <a:br>
              <a:rPr lang="en-US" sz="1800">
                <a:solidFill>
                  <a:schemeClr val="bg1"/>
                </a:solidFill>
                <a:latin typeface="Ubuntu" panose="020B0504030602030204" pitchFamily="34" charset="0"/>
              </a:rPr>
            </a:br>
            <a:r>
              <a:rPr lang="en-US" sz="1800">
                <a:solidFill>
                  <a:schemeClr val="bg1"/>
                </a:solidFill>
                <a:latin typeface="Ubuntu" panose="020B0504030602030204" pitchFamily="34" charset="0"/>
              </a:rPr>
              <a:t>Easily generate unit test cases for your Apex methods and LWC components using Agentforce for Developers. This helps you quickly achieve the necessary test coverage and prepare your code for deployment.</a:t>
            </a:r>
            <a:endParaRPr kumimoji="0" lang="en-US" sz="1600" b="0" i="0" u="none" strike="noStrike" kern="1200" cap="none" spc="0" normalizeH="0" baseline="0" noProof="0">
              <a:ln>
                <a:noFill/>
              </a:ln>
              <a:solidFill>
                <a:schemeClr val="bg1"/>
              </a:solidFill>
              <a:effectLst/>
              <a:uLnTx/>
              <a:uFillTx/>
              <a:latin typeface="Tw Cen MT" panose="020B0602020104020603"/>
              <a:ea typeface="+mn-ea"/>
              <a:cs typeface="+mn-cs"/>
            </a:endParaRPr>
          </a:p>
          <a:p>
            <a:endParaRPr lang="en-US">
              <a:solidFill>
                <a:schemeClr val="bg1"/>
              </a:solidFill>
            </a:endParaRPr>
          </a:p>
          <a:p>
            <a:endParaRPr lang="en-US"/>
          </a:p>
        </p:txBody>
      </p:sp>
      <p:sp>
        <p:nvSpPr>
          <p:cNvPr id="3" name="Title 1">
            <a:extLst>
              <a:ext uri="{FF2B5EF4-FFF2-40B4-BE49-F238E27FC236}">
                <a16:creationId xmlns:a16="http://schemas.microsoft.com/office/drawing/2014/main" id="{9CC8AD71-1F42-09F5-46B6-C924E1398FFE}"/>
              </a:ext>
            </a:extLst>
          </p:cNvPr>
          <p:cNvSpPr txBox="1">
            <a:spLocks/>
          </p:cNvSpPr>
          <p:nvPr/>
        </p:nvSpPr>
        <p:spPr>
          <a:xfrm>
            <a:off x="269748" y="282873"/>
            <a:ext cx="8294688" cy="444500"/>
          </a:xfrm>
          <a:prstGeom prst="rect">
            <a:avLst/>
          </a:prstGeom>
        </p:spPr>
        <p:txBody>
          <a:bodyPr vert="horz" lIns="0" tIns="0" rIns="0" bIns="0" rtlCol="0" anchor="b">
            <a:norm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US">
                <a:solidFill>
                  <a:schemeClr val="bg1"/>
                </a:solidFill>
              </a:rPr>
              <a:t>How to USE</a:t>
            </a:r>
          </a:p>
        </p:txBody>
      </p:sp>
    </p:spTree>
    <p:extLst>
      <p:ext uri="{BB962C8B-B14F-4D97-AF65-F5344CB8AC3E}">
        <p14:creationId xmlns:p14="http://schemas.microsoft.com/office/powerpoint/2010/main" val="25022339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926431E-3FBA-6E05-9964-F8FEB86C5423}"/>
              </a:ext>
            </a:extLst>
          </p:cNvPr>
          <p:cNvPicPr>
            <a:picLocks noChangeAspect="1"/>
          </p:cNvPicPr>
          <p:nvPr/>
        </p:nvPicPr>
        <p:blipFill rotWithShape="1">
          <a:blip r:embed="rId3"/>
          <a:srcRect r="7055"/>
          <a:stretch/>
        </p:blipFill>
        <p:spPr>
          <a:xfrm>
            <a:off x="5788942" y="0"/>
            <a:ext cx="6403058" cy="6858594"/>
          </a:xfrm>
          <a:prstGeom prst="rect">
            <a:avLst/>
          </a:prstGeom>
        </p:spPr>
      </p:pic>
      <p:grpSp>
        <p:nvGrpSpPr>
          <p:cNvPr id="18" name="Group 17">
            <a:extLst>
              <a:ext uri="{FF2B5EF4-FFF2-40B4-BE49-F238E27FC236}">
                <a16:creationId xmlns:a16="http://schemas.microsoft.com/office/drawing/2014/main" id="{375DCB2F-2D0A-C118-ACFF-C0B477A8B4FB}"/>
              </a:ext>
            </a:extLst>
          </p:cNvPr>
          <p:cNvGrpSpPr/>
          <p:nvPr/>
        </p:nvGrpSpPr>
        <p:grpSpPr>
          <a:xfrm>
            <a:off x="181751" y="1257343"/>
            <a:ext cx="6493369" cy="4071206"/>
            <a:chOff x="181751" y="1257343"/>
            <a:chExt cx="6493369" cy="4071206"/>
          </a:xfrm>
        </p:grpSpPr>
        <p:sp>
          <p:nvSpPr>
            <p:cNvPr id="5" name="TextBox 4">
              <a:extLst>
                <a:ext uri="{FF2B5EF4-FFF2-40B4-BE49-F238E27FC236}">
                  <a16:creationId xmlns:a16="http://schemas.microsoft.com/office/drawing/2014/main" id="{757BB87E-2D72-D5D3-30E6-809DD4D675F1}"/>
                </a:ext>
              </a:extLst>
            </p:cNvPr>
            <p:cNvSpPr txBox="1"/>
            <p:nvPr/>
          </p:nvSpPr>
          <p:spPr>
            <a:xfrm>
              <a:off x="387058" y="1989756"/>
              <a:ext cx="6135662" cy="3338793"/>
            </a:xfrm>
            <a:prstGeom prst="rect">
              <a:avLst/>
            </a:prstGeom>
          </p:spPr>
          <p:txBody>
            <a:bodyPr rot="0" spcFirstLastPara="0" vertOverflow="overflow" horzOverflow="overflow" vert="horz" wrap="square" lIns="36000" tIns="0" rIns="36000" bIns="0" numCol="1" spcCol="0" rtlCol="0" fromWordArt="0" anchor="t" anchorCtr="0" forceAA="0" compatLnSpc="1">
              <a:prstTxWarp prst="textNoShape">
                <a:avLst/>
              </a:prstTxWarp>
              <a:normAutofit/>
            </a:bodyPr>
            <a:lstStyle/>
            <a:p>
              <a:pPr marL="0" marR="0" lvl="0" indent="0" algn="just" defTabSz="914400" rtl="0" eaLnBrk="1" fontAlgn="auto" latinLnBrk="0" hangingPunct="1">
                <a:lnSpc>
                  <a:spcPct val="110000"/>
                </a:lnSpc>
                <a:spcBef>
                  <a:spcPts val="600"/>
                </a:spcBef>
                <a:spcAft>
                  <a:spcPts val="600"/>
                </a:spcAft>
                <a:buClrTx/>
                <a:buSzTx/>
                <a:buFontTx/>
                <a:buNone/>
                <a:tabLst/>
                <a:defRPr/>
              </a:pPr>
              <a:r>
                <a:rPr kumimoji="0" lang="en-US" sz="1800" b="0" i="0" u="none" strike="noStrike" kern="1200" cap="all" spc="0" normalizeH="0" baseline="0" noProof="0">
                  <a:ln>
                    <a:noFill/>
                  </a:ln>
                  <a:solidFill>
                    <a:srgbClr val="FFFFFF"/>
                  </a:solidFill>
                  <a:effectLst/>
                  <a:uLnTx/>
                  <a:uFillTx/>
                  <a:latin typeface="Ubuntu"/>
                  <a:ea typeface="+mn-ea"/>
                  <a:cs typeface="+mn-cs"/>
                </a:rPr>
                <a:t>Generative AI is the area we are pretty positive about and we have been positioned as leaders In our AI capabilities by leading analysts.</a:t>
              </a:r>
            </a:p>
            <a:p>
              <a:pPr marL="0" marR="0" lvl="0" indent="0" algn="just" defTabSz="914400" rtl="0" eaLnBrk="1" fontAlgn="auto" latinLnBrk="0" hangingPunct="1">
                <a:lnSpc>
                  <a:spcPct val="110000"/>
                </a:lnSpc>
                <a:spcBef>
                  <a:spcPts val="600"/>
                </a:spcBef>
                <a:spcAft>
                  <a:spcPts val="600"/>
                </a:spcAft>
                <a:buClrTx/>
                <a:buSzTx/>
                <a:buFontTx/>
                <a:buNone/>
                <a:tabLst/>
                <a:defRPr/>
              </a:pPr>
              <a:r>
                <a:rPr kumimoji="0" lang="en-US" sz="1800" b="0" i="0" u="none" strike="noStrike" kern="1200" cap="all" spc="0" normalizeH="0" baseline="0" noProof="0">
                  <a:ln>
                    <a:noFill/>
                  </a:ln>
                  <a:solidFill>
                    <a:srgbClr val="FFFFFF"/>
                  </a:solidFill>
                  <a:effectLst/>
                  <a:uLnTx/>
                  <a:uFillTx/>
                  <a:latin typeface="Ubuntu"/>
                  <a:ea typeface="+mn-ea"/>
                  <a:cs typeface="+mn-cs"/>
                </a:rPr>
                <a:t>Bringing value from Gen AI requires Disciplined approach. The change is More Fundamental</a:t>
              </a:r>
            </a:p>
            <a:p>
              <a:pPr marL="0" marR="0" lvl="0" indent="0" algn="l" defTabSz="914400" rtl="0" eaLnBrk="1" fontAlgn="auto" latinLnBrk="0" hangingPunct="1">
                <a:lnSpc>
                  <a:spcPct val="90000"/>
                </a:lnSpc>
                <a:spcBef>
                  <a:spcPts val="600"/>
                </a:spcBef>
                <a:spcAft>
                  <a:spcPts val="600"/>
                </a:spcAft>
                <a:buClrTx/>
                <a:buSzTx/>
                <a:buFontTx/>
                <a:buNone/>
                <a:tabLst/>
                <a:defRPr/>
              </a:pPr>
              <a:endParaRPr kumimoji="0" lang="en-US" sz="1800" b="1" i="0" u="none" strike="noStrike" kern="1200" cap="all" spc="0" normalizeH="0" baseline="0" noProof="0">
                <a:ln>
                  <a:noFill/>
                </a:ln>
                <a:solidFill>
                  <a:srgbClr val="FFFFFF"/>
                </a:solidFill>
                <a:effectLst/>
                <a:uLnTx/>
                <a:uFillTx/>
                <a:latin typeface="Ubuntu"/>
                <a:ea typeface="+mn-ea"/>
                <a:cs typeface="+mn-cs"/>
              </a:endParaRPr>
            </a:p>
            <a:p>
              <a:pPr marL="0" marR="0" lvl="0" indent="0" algn="l" defTabSz="914400" rtl="0" eaLnBrk="1" fontAlgn="auto" latinLnBrk="0" hangingPunct="1">
                <a:lnSpc>
                  <a:spcPct val="90000"/>
                </a:lnSpc>
                <a:spcBef>
                  <a:spcPts val="600"/>
                </a:spcBef>
                <a:spcAft>
                  <a:spcPts val="600"/>
                </a:spcAft>
                <a:buClrTx/>
                <a:buSzTx/>
                <a:buFontTx/>
                <a:buNone/>
                <a:tabLst/>
                <a:defRPr/>
              </a:pPr>
              <a:r>
                <a:rPr kumimoji="0" lang="en-US" sz="1800" b="1" i="1" u="none" strike="noStrike" kern="1200" cap="all" spc="0" normalizeH="0" baseline="0" noProof="0" err="1">
                  <a:ln>
                    <a:noFill/>
                  </a:ln>
                  <a:solidFill>
                    <a:srgbClr val="12ABDB">
                      <a:lumMod val="60000"/>
                      <a:lumOff val="40000"/>
                    </a:srgbClr>
                  </a:solidFill>
                  <a:effectLst/>
                  <a:uLnTx/>
                  <a:uFillTx/>
                  <a:latin typeface="Ubuntu"/>
                  <a:ea typeface="+mn-ea"/>
                  <a:cs typeface="+mn-cs"/>
                </a:rPr>
                <a:t>Aiman</a:t>
              </a:r>
              <a:r>
                <a:rPr kumimoji="0" lang="en-US" sz="1800" b="1" i="1" u="none" strike="noStrike" kern="1200" cap="all" spc="0" normalizeH="0" baseline="0" noProof="0">
                  <a:ln>
                    <a:noFill/>
                  </a:ln>
                  <a:solidFill>
                    <a:srgbClr val="12ABDB">
                      <a:lumMod val="60000"/>
                      <a:lumOff val="40000"/>
                    </a:srgbClr>
                  </a:solidFill>
                  <a:effectLst/>
                  <a:uLnTx/>
                  <a:uFillTx/>
                  <a:latin typeface="Ubuntu"/>
                  <a:ea typeface="+mn-ea"/>
                  <a:cs typeface="+mn-cs"/>
                </a:rPr>
                <a:t> Ezzat, </a:t>
              </a:r>
            </a:p>
            <a:p>
              <a:pPr marL="0" marR="0" lvl="0" indent="0" algn="l" defTabSz="914400" rtl="0" eaLnBrk="1" fontAlgn="auto" latinLnBrk="0" hangingPunct="1">
                <a:lnSpc>
                  <a:spcPct val="90000"/>
                </a:lnSpc>
                <a:spcBef>
                  <a:spcPts val="600"/>
                </a:spcBef>
                <a:spcAft>
                  <a:spcPts val="600"/>
                </a:spcAft>
                <a:buClrTx/>
                <a:buSzTx/>
                <a:buFontTx/>
                <a:buNone/>
                <a:tabLst/>
                <a:defRPr/>
              </a:pPr>
              <a:r>
                <a:rPr kumimoji="0" lang="en-US" sz="1800" b="1" i="1" u="none" strike="noStrike" kern="1200" cap="all" spc="0" normalizeH="0" baseline="0" noProof="0">
                  <a:ln>
                    <a:noFill/>
                  </a:ln>
                  <a:solidFill>
                    <a:srgbClr val="FFFFFF"/>
                  </a:solidFill>
                  <a:effectLst/>
                  <a:uLnTx/>
                  <a:uFillTx/>
                  <a:latin typeface="Ubuntu"/>
                  <a:ea typeface="+mn-ea"/>
                  <a:cs typeface="+mn-cs"/>
                </a:rPr>
                <a:t>Chief Executive Officer of Capgemini</a:t>
              </a:r>
            </a:p>
          </p:txBody>
        </p:sp>
        <p:cxnSp>
          <p:nvCxnSpPr>
            <p:cNvPr id="9" name="Straight Connector 8">
              <a:extLst>
                <a:ext uri="{FF2B5EF4-FFF2-40B4-BE49-F238E27FC236}">
                  <a16:creationId xmlns:a16="http://schemas.microsoft.com/office/drawing/2014/main" id="{B10FCC81-88FC-6252-640C-3D72C6B7B3F5}"/>
                </a:ext>
              </a:extLst>
            </p:cNvPr>
            <p:cNvCxnSpPr>
              <a:cxnSpLocks/>
            </p:cNvCxnSpPr>
            <p:nvPr/>
          </p:nvCxnSpPr>
          <p:spPr>
            <a:xfrm>
              <a:off x="404813" y="1413758"/>
              <a:ext cx="6117907" cy="0"/>
            </a:xfrm>
            <a:prstGeom prst="line">
              <a:avLst/>
            </a:prstGeom>
            <a:ln w="1270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B070A0C-C6E0-1054-534C-5242D2A23E0E}"/>
                </a:ext>
              </a:extLst>
            </p:cNvPr>
            <p:cNvCxnSpPr>
              <a:cxnSpLocks/>
            </p:cNvCxnSpPr>
            <p:nvPr/>
          </p:nvCxnSpPr>
          <p:spPr>
            <a:xfrm>
              <a:off x="404813" y="5023555"/>
              <a:ext cx="5995987" cy="0"/>
            </a:xfrm>
            <a:prstGeom prst="line">
              <a:avLst/>
            </a:prstGeom>
            <a:ln w="1270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6" name="Graphic 15" descr="Open quotation mark outline">
              <a:extLst>
                <a:ext uri="{FF2B5EF4-FFF2-40B4-BE49-F238E27FC236}">
                  <a16:creationId xmlns:a16="http://schemas.microsoft.com/office/drawing/2014/main" id="{508D0F35-42C4-C7AA-4533-33EDF0DECD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1751" y="1257343"/>
              <a:ext cx="914400" cy="914400"/>
            </a:xfrm>
            <a:prstGeom prst="rect">
              <a:avLst/>
            </a:prstGeom>
          </p:spPr>
        </p:pic>
        <p:pic>
          <p:nvPicPr>
            <p:cNvPr id="17" name="Graphic 16" descr="Open quotation mark outline">
              <a:extLst>
                <a:ext uri="{FF2B5EF4-FFF2-40B4-BE49-F238E27FC236}">
                  <a16:creationId xmlns:a16="http://schemas.microsoft.com/office/drawing/2014/main" id="{698FE125-64D3-24A9-B3E2-950744D9869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5760720" y="3429000"/>
              <a:ext cx="914400" cy="914400"/>
            </a:xfrm>
            <a:prstGeom prst="rect">
              <a:avLst/>
            </a:prstGeom>
          </p:spPr>
        </p:pic>
      </p:grpSp>
      <p:sp>
        <p:nvSpPr>
          <p:cNvPr id="3" name="Rectangle 27">
            <a:extLst>
              <a:ext uri="{FF2B5EF4-FFF2-40B4-BE49-F238E27FC236}">
                <a16:creationId xmlns:a16="http://schemas.microsoft.com/office/drawing/2014/main" id="{4BEE9C45-7756-829E-A2BE-5DDC629C3036}"/>
              </a:ext>
            </a:extLst>
          </p:cNvPr>
          <p:cNvSpPr/>
          <p:nvPr/>
        </p:nvSpPr>
        <p:spPr>
          <a:xfrm>
            <a:off x="404814" y="6517871"/>
            <a:ext cx="5245488"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lumMod val="75000"/>
                  </a:srgbClr>
                </a:solidFill>
                <a:effectLst/>
                <a:uLnTx/>
                <a:uFillTx/>
                <a:latin typeface="Ubuntu"/>
                <a:ea typeface="+mn-ea"/>
                <a:cs typeface="Arial" panose="020B0604020202020204" pitchFamily="34" charset="0"/>
              </a:rPr>
              <a:t>Gen AI for CX | Training for UK leaders</a:t>
            </a:r>
          </a:p>
        </p:txBody>
      </p:sp>
    </p:spTree>
    <p:extLst>
      <p:ext uri="{BB962C8B-B14F-4D97-AF65-F5344CB8AC3E}">
        <p14:creationId xmlns:p14="http://schemas.microsoft.com/office/powerpoint/2010/main" val="2976780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1000"/>
                            </p:stCondLst>
                            <p:childTnLst>
                              <p:par>
                                <p:cTn id="9" presetID="22" presetClass="entr" presetSubtype="8" fill="hold" nodeType="afterEffect">
                                  <p:stCondLst>
                                    <p:cond delay="500"/>
                                  </p:stCondLst>
                                  <p:childTnLst>
                                    <p:set>
                                      <p:cBhvr>
                                        <p:cTn id="10" dur="1" fill="hold">
                                          <p:stCondLst>
                                            <p:cond delay="0"/>
                                          </p:stCondLst>
                                        </p:cTn>
                                        <p:tgtEl>
                                          <p:spTgt spid="18"/>
                                        </p:tgtEl>
                                        <p:attrNameLst>
                                          <p:attrName>style.visibility</p:attrName>
                                        </p:attrNameLst>
                                      </p:cBhvr>
                                      <p:to>
                                        <p:strVal val="visible"/>
                                      </p:to>
                                    </p:set>
                                    <p:animEffect transition="in" filter="wipe(left)">
                                      <p:cBhvr>
                                        <p:cTn id="1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9891005-5445-01E7-AD5D-0BAC60B257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79EA1B-35E1-02C1-191B-1AE9C19112AF}"/>
              </a:ext>
            </a:extLst>
          </p:cNvPr>
          <p:cNvSpPr>
            <a:spLocks noGrp="1"/>
          </p:cNvSpPr>
          <p:nvPr>
            <p:ph type="title"/>
          </p:nvPr>
        </p:nvSpPr>
        <p:spPr>
          <a:xfrm>
            <a:off x="395669" y="-233604"/>
            <a:ext cx="4203763" cy="716711"/>
          </a:xfrm>
        </p:spPr>
        <p:txBody>
          <a:bodyPr>
            <a:noAutofit/>
          </a:bodyPr>
          <a:lstStyle/>
          <a:p>
            <a:r>
              <a:rPr lang="en-US" sz="3200" b="1" u="sng"/>
              <a:t>How to Use</a:t>
            </a:r>
          </a:p>
        </p:txBody>
      </p:sp>
      <p:sp>
        <p:nvSpPr>
          <p:cNvPr id="4" name="TextBox 3">
            <a:extLst>
              <a:ext uri="{FF2B5EF4-FFF2-40B4-BE49-F238E27FC236}">
                <a16:creationId xmlns:a16="http://schemas.microsoft.com/office/drawing/2014/main" id="{7FBD106B-805B-8424-2E5A-EBCE125642D8}"/>
              </a:ext>
            </a:extLst>
          </p:cNvPr>
          <p:cNvSpPr txBox="1"/>
          <p:nvPr/>
        </p:nvSpPr>
        <p:spPr>
          <a:xfrm>
            <a:off x="109728" y="246190"/>
            <a:ext cx="12192000" cy="6882269"/>
          </a:xfrm>
          <a:prstGeom prst="rect">
            <a:avLst/>
          </a:prstGeom>
          <a:noFill/>
        </p:spPr>
        <p:txBody>
          <a:bodyPr wrap="square">
            <a:spAutoFit/>
          </a:bodyPr>
          <a:lstStyle/>
          <a:p>
            <a:pPr marL="0" marR="0" lvl="0" indent="0" algn="l" defTabSz="914400" rtl="0" eaLnBrk="1" fontAlgn="auto" latinLnBrk="0" hangingPunct="1">
              <a:lnSpc>
                <a:spcPct val="100000"/>
              </a:lnSpc>
              <a:spcBef>
                <a:spcPts val="450"/>
              </a:spcBef>
              <a:spcAft>
                <a:spcPts val="750"/>
              </a:spcAft>
              <a:buClrTx/>
              <a:buSzTx/>
              <a:buFontTx/>
              <a:buNone/>
              <a:tabLst/>
              <a:defRPr/>
            </a:pPr>
            <a:b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br>
            <a:r>
              <a:rPr lang="en-US" sz="2000">
                <a:latin typeface="Ubuntu" panose="020B0504030602030204" pitchFamily="34" charset="0"/>
              </a:rPr>
              <a:t>Agent force for Developers transforms natural language prompts into Apex code and offers intelligent code completions as you type. When used alongside IntelliSense, it significantly enhances the Salesforce development experience in Visual Studio Code. This feature assumes you're already familiar with using VS Code.</a:t>
            </a:r>
          </a:p>
          <a:p>
            <a:pPr marL="0" marR="0" lvl="0" indent="0" algn="l" defTabSz="914400" rtl="0" eaLnBrk="1" fontAlgn="auto" latinLnBrk="0" hangingPunct="1">
              <a:lnSpc>
                <a:spcPct val="100000"/>
              </a:lnSpc>
              <a:spcBef>
                <a:spcPts val="450"/>
              </a:spcBef>
              <a:spcAft>
                <a:spcPts val="750"/>
              </a:spcAft>
              <a:buClrTx/>
              <a:buSzTx/>
              <a:buFontTx/>
              <a:buNone/>
              <a:tabLst/>
              <a:defRPr/>
            </a:pPr>
            <a:r>
              <a:rPr lang="en-US" sz="2000" b="1">
                <a:latin typeface="Ubuntu" panose="020B0504030602030204" pitchFamily="34" charset="0"/>
              </a:rPr>
              <a:t>Dev Assistant</a:t>
            </a:r>
            <a:br>
              <a:rPr lang="en-US" sz="2000">
                <a:latin typeface="Ubuntu" panose="020B0504030602030204" pitchFamily="34" charset="0"/>
              </a:rPr>
            </a:br>
            <a:r>
              <a:rPr lang="en-US" sz="2000">
                <a:latin typeface="Ubuntu" panose="020B0504030602030204" pitchFamily="34" charset="0"/>
              </a:rPr>
              <a:t>Streamline your coding process with the Dev Assistant by your side. Whether you're generating code or diving into Salesforce development, simply ask for help to get started. Use intuitive slash commands to perform specific tasks like interpreting unfamiliar code or enhancing your documentation.</a:t>
            </a:r>
          </a:p>
          <a:p>
            <a:pPr marL="0" marR="0" lvl="0" indent="0" algn="l" defTabSz="914400" rtl="0" eaLnBrk="1" fontAlgn="auto" latinLnBrk="0" hangingPunct="1">
              <a:lnSpc>
                <a:spcPct val="100000"/>
              </a:lnSpc>
              <a:spcBef>
                <a:spcPts val="450"/>
              </a:spcBef>
              <a:spcAft>
                <a:spcPts val="750"/>
              </a:spcAft>
              <a:buClrTx/>
              <a:buSzTx/>
              <a:buFontTx/>
              <a:buNone/>
              <a:tabLst/>
              <a:defRPr/>
            </a:pPr>
            <a:r>
              <a:rPr lang="en-US" sz="2000" b="1">
                <a:latin typeface="Ubuntu" panose="020B0504030602030204" pitchFamily="34" charset="0"/>
              </a:rPr>
              <a:t>Command Palette Integration</a:t>
            </a:r>
            <a:br>
              <a:rPr lang="en-US" sz="2000">
                <a:latin typeface="Ubuntu" panose="020B0504030602030204" pitchFamily="34" charset="0"/>
              </a:rPr>
            </a:br>
            <a:r>
              <a:rPr lang="en-US" sz="2000">
                <a:latin typeface="Ubuntu" panose="020B0504030602030204" pitchFamily="34" charset="0"/>
              </a:rPr>
              <a:t>Access the Agentforce: Generate Code command from the VS Code Command Palette to describe what you want to build. Agentforce will respond with Apex code suggestions directly in your editor.</a:t>
            </a:r>
          </a:p>
          <a:p>
            <a:pPr marL="0" marR="0" lvl="0" indent="0" algn="l" defTabSz="914400" rtl="0" eaLnBrk="1" fontAlgn="auto" latinLnBrk="0" hangingPunct="1">
              <a:lnSpc>
                <a:spcPct val="100000"/>
              </a:lnSpc>
              <a:spcBef>
                <a:spcPts val="450"/>
              </a:spcBef>
              <a:spcAft>
                <a:spcPts val="750"/>
              </a:spcAft>
              <a:buClrTx/>
              <a:buSzTx/>
              <a:buFontTx/>
              <a:buNone/>
              <a:tabLst/>
              <a:defRPr/>
            </a:pPr>
            <a:r>
              <a:rPr lang="en-US" sz="2000" b="1">
                <a:latin typeface="Ubuntu" panose="020B0504030602030204" pitchFamily="34" charset="0"/>
              </a:rPr>
              <a:t>Inline Code Completions</a:t>
            </a:r>
            <a:br>
              <a:rPr lang="en-US" sz="2000">
                <a:latin typeface="Ubuntu" panose="020B0504030602030204" pitchFamily="34" charset="0"/>
              </a:rPr>
            </a:br>
            <a:r>
              <a:rPr lang="en-US" sz="2000">
                <a:latin typeface="Ubuntu" panose="020B0504030602030204" pitchFamily="34" charset="0"/>
              </a:rPr>
              <a:t>As you write, Agentforce for Developers provides real-time code suggestions without disrupting your workflow. You can use this feature in Apex and LWC files, including JavaScript, CSS, and HTML.</a:t>
            </a:r>
          </a:p>
          <a:p>
            <a:pPr marL="0" marR="0" lvl="0" indent="0" algn="l" defTabSz="914400" rtl="0" eaLnBrk="1" fontAlgn="auto" latinLnBrk="0" hangingPunct="1">
              <a:lnSpc>
                <a:spcPct val="100000"/>
              </a:lnSpc>
              <a:spcBef>
                <a:spcPts val="450"/>
              </a:spcBef>
              <a:spcAft>
                <a:spcPts val="750"/>
              </a:spcAft>
              <a:buClrTx/>
              <a:buSzTx/>
              <a:buFontTx/>
              <a:buNone/>
              <a:tabLst/>
              <a:defRPr/>
            </a:pPr>
            <a:r>
              <a:rPr lang="en-US" sz="2000" b="1">
                <a:latin typeface="Ubuntu" panose="020B0504030602030204" pitchFamily="34" charset="0"/>
              </a:rPr>
              <a:t>Test Case Generation</a:t>
            </a:r>
            <a:br>
              <a:rPr lang="en-US" sz="2000">
                <a:latin typeface="Ubuntu" panose="020B0504030602030204" pitchFamily="34" charset="0"/>
              </a:rPr>
            </a:br>
            <a:r>
              <a:rPr lang="en-US" sz="2000">
                <a:latin typeface="Ubuntu" panose="020B0504030602030204" pitchFamily="34" charset="0"/>
              </a:rPr>
              <a:t>Easily generate unit test cases for your Apex methods and LWC components using Agentforce for Developers. This helps you quickly achieve the necessary test coverage and prepare your code for deployment.</a:t>
            </a: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914400" rtl="0" eaLnBrk="1" fontAlgn="auto" latinLnBrk="0" hangingPunct="1">
              <a:lnSpc>
                <a:spcPts val="15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24909311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DA8A12E0-5F2A-C45E-B18B-34B0B74C54EC}"/>
              </a:ext>
            </a:extLst>
          </p:cNvPr>
          <p:cNvSpPr txBox="1"/>
          <p:nvPr/>
        </p:nvSpPr>
        <p:spPr>
          <a:xfrm>
            <a:off x="794742" y="2204864"/>
            <a:ext cx="4851949" cy="4185761"/>
          </a:xfrm>
          <a:prstGeom prst="rect">
            <a:avLst/>
          </a:prstGeom>
          <a:noFill/>
        </p:spPr>
        <p:txBody>
          <a:bodyPr wrap="square" rtlCol="0">
            <a:spAutoFit/>
          </a:bodyPr>
          <a:lstStyle/>
          <a:p>
            <a:r>
              <a:rPr kumimoji="0" lang="en-GB" sz="1400" b="0" i="0" u="none" strike="noStrike" kern="1200" cap="none" spc="0" normalizeH="0" baseline="0" noProof="0">
                <a:ln>
                  <a:noFill/>
                </a:ln>
                <a:solidFill>
                  <a:srgbClr val="FFFFFF"/>
                </a:solidFill>
                <a:effectLst/>
                <a:uLnTx/>
                <a:uFillTx/>
                <a:latin typeface="Ubuntu"/>
                <a:ea typeface="+mn-ea"/>
                <a:cs typeface="+mn-cs"/>
              </a:rPr>
              <a:t>With generative AI, we are entering </a:t>
            </a:r>
            <a:r>
              <a:rPr kumimoji="0" lang="en-GB" sz="1400" b="1" i="0" u="none" strike="noStrike" kern="1200" cap="none" spc="0" normalizeH="0" baseline="0" noProof="0">
                <a:ln>
                  <a:noFill/>
                </a:ln>
                <a:solidFill>
                  <a:srgbClr val="00B0F0"/>
                </a:solidFill>
                <a:effectLst/>
                <a:uLnTx/>
                <a:uFillTx/>
                <a:latin typeface="Ubuntu"/>
                <a:ea typeface="+mn-ea"/>
                <a:cs typeface="+mn-cs"/>
              </a:rPr>
              <a:t>new frontiers of Customer Experience in Salesforce</a:t>
            </a:r>
            <a:r>
              <a:rPr kumimoji="0" lang="en-GB" sz="1400" b="0" i="0" u="none" strike="noStrike" kern="1200" cap="none" spc="0" normalizeH="0" baseline="0" noProof="0">
                <a:ln>
                  <a:noFill/>
                </a:ln>
                <a:solidFill>
                  <a:srgbClr val="FFFFFF"/>
                </a:solidFill>
                <a:effectLst/>
                <a:uLnTx/>
                <a:uFillTx/>
                <a:latin typeface="Ubuntu"/>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Ubuntu"/>
                <a:ea typeface="+mn-ea"/>
                <a:cs typeface="+mn-cs"/>
              </a:rPr>
              <a:t>There is a need to evaluate the application of Generative AI in the all phases of </a:t>
            </a:r>
            <a:r>
              <a:rPr lang="en-GB" sz="1400" b="1">
                <a:solidFill>
                  <a:srgbClr val="00B0F0"/>
                </a:solidFill>
                <a:latin typeface="Ubuntu"/>
              </a:rPr>
              <a:t>Software Development Life Cycle</a:t>
            </a:r>
            <a:r>
              <a:rPr kumimoji="0" lang="en-GB" sz="1400" b="0" i="0" u="none" strike="noStrike" kern="1200" cap="none" spc="0" normalizeH="0" baseline="0" noProof="0">
                <a:ln>
                  <a:noFill/>
                </a:ln>
                <a:solidFill>
                  <a:srgbClr val="FFFFFF"/>
                </a:solidFill>
                <a:effectLst/>
                <a:uLnTx/>
                <a:uFillTx/>
                <a:latin typeface="Ubuntu"/>
                <a:ea typeface="+mn-ea"/>
                <a:cs typeface="+mn-cs"/>
              </a:rPr>
              <a:t>, focusing on Salesforce Design, Customization,   Configuration and code analysi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a:solidFill>
                <a:srgbClr val="FFFFFF"/>
              </a:solidFill>
              <a:latin typeface="Ubuntu"/>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Ubuntu"/>
                <a:ea typeface="+mn-ea"/>
                <a:cs typeface="+mn-cs"/>
              </a:rPr>
              <a:t>Secondly, investigate the generation of </a:t>
            </a:r>
            <a:r>
              <a:rPr lang="en-GB" sz="1400" b="1">
                <a:solidFill>
                  <a:srgbClr val="00B0F0"/>
                </a:solidFill>
                <a:latin typeface="Ubuntu"/>
              </a:rPr>
              <a:t>requirements and user stories</a:t>
            </a:r>
            <a:r>
              <a:rPr lang="en-GB" sz="1400" b="1">
                <a:solidFill>
                  <a:srgbClr val="0070AD">
                    <a:lumMod val="20000"/>
                    <a:lumOff val="80000"/>
                  </a:srgbClr>
                </a:solidFill>
                <a:latin typeface="Ubuntu"/>
              </a:rPr>
              <a:t> </a:t>
            </a:r>
            <a:r>
              <a:rPr lang="en-GB" sz="1400">
                <a:solidFill>
                  <a:srgbClr val="FFFFFF"/>
                </a:solidFill>
                <a:latin typeface="Ubuntu"/>
              </a:rPr>
              <a:t>and the </a:t>
            </a:r>
            <a:r>
              <a:rPr lang="en-GB" sz="1400" b="1">
                <a:solidFill>
                  <a:srgbClr val="00B0F0"/>
                </a:solidFill>
                <a:latin typeface="Ubuntu"/>
              </a:rPr>
              <a:t>creation</a:t>
            </a:r>
            <a:r>
              <a:rPr kumimoji="0" lang="en-GB" sz="1400" b="1" i="0" u="none" strike="noStrike" kern="1200" cap="none" spc="0" normalizeH="0" baseline="0" noProof="0">
                <a:ln>
                  <a:noFill/>
                </a:ln>
                <a:solidFill>
                  <a:srgbClr val="00B0F0"/>
                </a:solidFill>
                <a:effectLst/>
                <a:uLnTx/>
                <a:uFillTx/>
                <a:latin typeface="Ubuntu"/>
                <a:ea typeface="+mn-ea"/>
                <a:cs typeface="+mn-cs"/>
              </a:rPr>
              <a:t> of functional and UAT test cases</a:t>
            </a:r>
            <a:r>
              <a:rPr kumimoji="0" lang="en-GB" sz="1400" b="0" i="0" u="none" strike="noStrike" kern="1200" cap="none" spc="0" normalizeH="0" baseline="0" noProof="0">
                <a:ln>
                  <a:noFill/>
                </a:ln>
                <a:solidFill>
                  <a:srgbClr val="FFFFFF"/>
                </a:solidFill>
                <a:effectLst/>
                <a:uLnTx/>
                <a:uFillTx/>
                <a:latin typeface="Ubuntu"/>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a:solidFill>
                <a:srgbClr val="FFFFFF"/>
              </a:solidFill>
              <a:latin typeface="Ubuntu"/>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Ubuntu"/>
                <a:ea typeface="+mn-ea"/>
                <a:cs typeface="+mn-cs"/>
              </a:rPr>
              <a:t>Thirdly, explore </a:t>
            </a:r>
            <a:r>
              <a:rPr kumimoji="0" lang="en-GB" sz="1400" b="1" i="0" u="none" strike="noStrike" kern="1200" cap="none" spc="0" normalizeH="0" baseline="0" noProof="0">
                <a:ln>
                  <a:noFill/>
                </a:ln>
                <a:solidFill>
                  <a:srgbClr val="00B0F0"/>
                </a:solidFill>
                <a:effectLst/>
                <a:uLnTx/>
                <a:uFillTx/>
                <a:latin typeface="Ubuntu"/>
                <a:ea typeface="+mn-ea"/>
                <a:cs typeface="+mn-cs"/>
              </a:rPr>
              <a:t>alternative Generative AI platforms </a:t>
            </a:r>
            <a:r>
              <a:rPr kumimoji="0" lang="en-GB" sz="1400" b="0" i="0" u="none" strike="noStrike" kern="1200" cap="none" spc="0" normalizeH="0" baseline="0" noProof="0">
                <a:ln>
                  <a:noFill/>
                </a:ln>
                <a:solidFill>
                  <a:srgbClr val="FFFFFF"/>
                </a:solidFill>
                <a:effectLst/>
                <a:uLnTx/>
                <a:uFillTx/>
                <a:latin typeface="Ubuntu"/>
                <a:ea typeface="+mn-ea"/>
                <a:cs typeface="+mn-cs"/>
              </a:rPr>
              <a:t>for a comparative study</a:t>
            </a:r>
            <a:r>
              <a:rPr lang="en-GB" sz="1400">
                <a:solidFill>
                  <a:srgbClr val="FFFFFF"/>
                </a:solidFill>
                <a:latin typeface="Ubuntu"/>
              </a:rPr>
              <a:t> to select best LLM for a given requirement.</a:t>
            </a:r>
            <a:endParaRPr kumimoji="0" lang="en-GB" sz="1400" b="0" i="0" u="none" strike="noStrike" kern="1200" cap="none" spc="0" normalizeH="0" baseline="0" noProof="0">
              <a:ln>
                <a:noFill/>
              </a:ln>
              <a:solidFill>
                <a:srgbClr val="FFFFFF"/>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a:solidFill>
                <a:srgbClr val="FFFFFF"/>
              </a:solidFill>
              <a:latin typeface="Ubuntu"/>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Ubuntu"/>
                <a:ea typeface="+mn-ea"/>
                <a:cs typeface="+mn-cs"/>
              </a:rPr>
              <a:t>Finally, </a:t>
            </a:r>
            <a:r>
              <a:rPr lang="en-GB" sz="1400" b="1">
                <a:solidFill>
                  <a:srgbClr val="00B0F0"/>
                </a:solidFill>
                <a:latin typeface="Ubuntu"/>
              </a:rPr>
              <a:t>estimate the percentage of effort reduction (productivity factors)</a:t>
            </a:r>
            <a:r>
              <a:rPr lang="en-GB" sz="1400" b="1">
                <a:solidFill>
                  <a:srgbClr val="0070AD">
                    <a:lumMod val="20000"/>
                    <a:lumOff val="80000"/>
                  </a:srgbClr>
                </a:solidFill>
                <a:latin typeface="Ubuntu"/>
              </a:rPr>
              <a:t> </a:t>
            </a:r>
            <a:r>
              <a:rPr kumimoji="0" lang="en-GB" sz="1400" b="0" i="0" u="none" strike="noStrike" kern="1200" cap="none" spc="0" normalizeH="0" baseline="0" noProof="0">
                <a:ln>
                  <a:noFill/>
                </a:ln>
                <a:solidFill>
                  <a:srgbClr val="FFFFFF"/>
                </a:solidFill>
                <a:effectLst/>
                <a:uLnTx/>
                <a:uFillTx/>
                <a:latin typeface="Ubuntu"/>
                <a:ea typeface="+mn-ea"/>
                <a:cs typeface="+mn-cs"/>
              </a:rPr>
              <a:t>in RFPs and existing Salesforce programs.</a:t>
            </a:r>
          </a:p>
        </p:txBody>
      </p:sp>
      <p:sp>
        <p:nvSpPr>
          <p:cNvPr id="8" name="Title 2">
            <a:extLst>
              <a:ext uri="{FF2B5EF4-FFF2-40B4-BE49-F238E27FC236}">
                <a16:creationId xmlns:a16="http://schemas.microsoft.com/office/drawing/2014/main" id="{EBE3F24E-CD02-6B2C-FC26-98786CB6C8C3}"/>
              </a:ext>
            </a:extLst>
          </p:cNvPr>
          <p:cNvSpPr txBox="1">
            <a:spLocks/>
          </p:cNvSpPr>
          <p:nvPr/>
        </p:nvSpPr>
        <p:spPr>
          <a:xfrm>
            <a:off x="839415" y="690229"/>
            <a:ext cx="5060642" cy="1514635"/>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bg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0" i="0" u="none" strike="noStrike" kern="1200" cap="all" spc="0" normalizeH="0" baseline="0" noProof="0">
                <a:ln>
                  <a:noFill/>
                </a:ln>
                <a:solidFill>
                  <a:srgbClr val="FFFFFF"/>
                </a:solidFill>
                <a:effectLst/>
                <a:uLnTx/>
                <a:uFillTx/>
                <a:latin typeface="Ubuntu Medium"/>
                <a:ea typeface="+mj-ea"/>
                <a:cs typeface="+mj-cs"/>
              </a:rPr>
              <a:t>THE NEW ERA OF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0" i="0" u="none" strike="noStrike" kern="1200" cap="all" spc="0" normalizeH="0" baseline="0" noProof="0">
                <a:ln>
                  <a:noFill/>
                </a:ln>
                <a:solidFill>
                  <a:schemeClr val="accent5">
                    <a:lumMod val="60000"/>
                    <a:lumOff val="40000"/>
                  </a:schemeClr>
                </a:solidFill>
                <a:effectLst/>
                <a:uLnTx/>
                <a:uFillTx/>
                <a:latin typeface="Ubuntu Medium"/>
                <a:ea typeface="+mj-ea"/>
                <a:cs typeface="+mj-cs"/>
              </a:rPr>
              <a:t>EXPERIENCE EMPOWERMENT</a:t>
            </a:r>
          </a:p>
          <a:p>
            <a:pPr marL="0" marR="0" lvl="0" indent="0" algn="l" defTabSz="914400" rtl="0" eaLnBrk="1" fontAlgn="auto" latinLnBrk="0" hangingPunct="1">
              <a:lnSpc>
                <a:spcPct val="90000"/>
              </a:lnSpc>
              <a:spcBef>
                <a:spcPct val="0"/>
              </a:spcBef>
              <a:spcAft>
                <a:spcPts val="0"/>
              </a:spcAft>
              <a:buClrTx/>
              <a:buSzTx/>
              <a:buFontTx/>
              <a:buNone/>
              <a:tabLst/>
              <a:defRPr/>
            </a:pPr>
            <a:r>
              <a:rPr lang="en-GB" sz="2800">
                <a:solidFill>
                  <a:schemeClr val="accent5">
                    <a:lumMod val="60000"/>
                    <a:lumOff val="40000"/>
                  </a:schemeClr>
                </a:solidFill>
                <a:latin typeface="Ubuntu Medium"/>
              </a:rPr>
              <a:t>USING SALESFORCE</a:t>
            </a:r>
            <a:endParaRPr kumimoji="0" lang="en-GB" sz="2600" b="0" i="0" u="none" strike="noStrike" kern="1200" cap="all" spc="0" normalizeH="0" baseline="0" noProof="0">
              <a:ln>
                <a:noFill/>
              </a:ln>
              <a:solidFill>
                <a:schemeClr val="accent5">
                  <a:lumMod val="60000"/>
                  <a:lumOff val="40000"/>
                </a:schemeClr>
              </a:solidFill>
              <a:effectLst/>
              <a:uLnTx/>
              <a:uFillTx/>
              <a:latin typeface="Ubuntu Medium"/>
              <a:ea typeface="+mj-ea"/>
              <a:cs typeface="+mj-cs"/>
            </a:endParaRPr>
          </a:p>
        </p:txBody>
      </p:sp>
      <p:sp>
        <p:nvSpPr>
          <p:cNvPr id="9" name="Rectangle 8">
            <a:extLst>
              <a:ext uri="{FF2B5EF4-FFF2-40B4-BE49-F238E27FC236}">
                <a16:creationId xmlns:a16="http://schemas.microsoft.com/office/drawing/2014/main" id="{5B34C80D-4BB0-9D0B-4E2D-1ECF5F5D887F}"/>
              </a:ext>
            </a:extLst>
          </p:cNvPr>
          <p:cNvSpPr/>
          <p:nvPr/>
        </p:nvSpPr>
        <p:spPr>
          <a:xfrm>
            <a:off x="6019845" y="-7828"/>
            <a:ext cx="76154" cy="6858000"/>
          </a:xfrm>
          <a:prstGeom prst="rect">
            <a:avLst/>
          </a:prstGeom>
          <a:gradFill flip="none" rotWithShape="1">
            <a:gsLst>
              <a:gs pos="0">
                <a:schemeClr val="accent1"/>
              </a:gs>
              <a:gs pos="38000">
                <a:schemeClr val="accent2"/>
              </a:gs>
              <a:gs pos="100000">
                <a:schemeClr val="bg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0" name="TextBox 9">
            <a:extLst>
              <a:ext uri="{FF2B5EF4-FFF2-40B4-BE49-F238E27FC236}">
                <a16:creationId xmlns:a16="http://schemas.microsoft.com/office/drawing/2014/main" id="{9A0B8F18-48E8-150F-9212-FAFC8AD5D957}"/>
              </a:ext>
            </a:extLst>
          </p:cNvPr>
          <p:cNvSpPr txBox="1"/>
          <p:nvPr/>
        </p:nvSpPr>
        <p:spPr>
          <a:xfrm>
            <a:off x="7970519" y="2713286"/>
            <a:ext cx="252330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Ou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B0F0"/>
                </a:solidFill>
                <a:effectLst/>
                <a:uLnTx/>
                <a:uFillTx/>
                <a:latin typeface="Ubuntu Medium"/>
                <a:ea typeface="+mn-ea"/>
                <a:cs typeface="+mn-cs"/>
              </a:rPr>
              <a:t>Approach</a:t>
            </a:r>
            <a:endParaRPr kumimoji="0" lang="en-GB" sz="1400" b="0" i="0" u="none" strike="noStrike" kern="1200" cap="none" spc="0" normalizeH="0" baseline="0" noProof="0">
              <a:ln>
                <a:noFill/>
              </a:ln>
              <a:solidFill>
                <a:srgbClr val="00B0F0"/>
              </a:solidFill>
              <a:effectLst/>
              <a:uLnTx/>
              <a:uFillTx/>
              <a:latin typeface="Ubuntu Medium"/>
              <a:ea typeface="+mn-ea"/>
              <a:cs typeface="+mn-cs"/>
            </a:endParaRPr>
          </a:p>
        </p:txBody>
      </p:sp>
      <p:sp>
        <p:nvSpPr>
          <p:cNvPr id="13" name="Rectangle 12">
            <a:extLst>
              <a:ext uri="{FF2B5EF4-FFF2-40B4-BE49-F238E27FC236}">
                <a16:creationId xmlns:a16="http://schemas.microsoft.com/office/drawing/2014/main" id="{88E46B5A-5EE9-034C-EA9D-7E9CB4B07119}"/>
              </a:ext>
            </a:extLst>
          </p:cNvPr>
          <p:cNvSpPr/>
          <p:nvPr/>
        </p:nvSpPr>
        <p:spPr>
          <a:xfrm>
            <a:off x="7597411" y="1586976"/>
            <a:ext cx="3093174" cy="3093174"/>
          </a:xfrm>
          <a:prstGeom prst="rect">
            <a:avLst/>
          </a:prstGeom>
          <a:noFill/>
        </p:spPr>
        <p:txBody>
          <a:bodyPr wrap="none" lIns="91440" tIns="45720" rIns="91440" bIns="45720">
            <a:prstTxWarp prst="textCircl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w="0"/>
                <a:solidFill>
                  <a:srgbClr val="FFFFFF"/>
                </a:solidFill>
                <a:effectLst/>
                <a:uLnTx/>
                <a:uFillTx/>
                <a:latin typeface="Ubuntu Light" panose="020B0304030602030204" pitchFamily="34" charset="0"/>
                <a:ea typeface="+mn-ea"/>
                <a:cs typeface="+mn-cs"/>
              </a:rPr>
              <a:t> 		</a:t>
            </a:r>
            <a:r>
              <a:rPr kumimoji="0" lang="en-US" sz="6000" b="1" i="0" u="none" strike="noStrike" kern="1200" cap="none" spc="0" normalizeH="0" baseline="0" noProof="0">
                <a:ln w="0"/>
                <a:solidFill>
                  <a:srgbClr val="00B0F0"/>
                </a:solidFill>
                <a:effectLst/>
                <a:uLnTx/>
                <a:uFillTx/>
                <a:latin typeface="Ubuntu Light" panose="020B0304030602030204" pitchFamily="34" charset="0"/>
                <a:ea typeface="+mn-ea"/>
                <a:cs typeface="+mn-cs"/>
              </a:rPr>
              <a:t>Project</a:t>
            </a:r>
            <a:r>
              <a:rPr kumimoji="0" lang="en-US" sz="6000" b="0" i="0" u="none" strike="noStrike" kern="1200" cap="none" spc="0" normalizeH="0" baseline="0" noProof="0">
                <a:ln w="0"/>
                <a:solidFill>
                  <a:srgbClr val="0070AD">
                    <a:lumMod val="20000"/>
                    <a:lumOff val="80000"/>
                  </a:srgbClr>
                </a:solidFill>
                <a:effectLst/>
                <a:uLnTx/>
                <a:uFillTx/>
                <a:latin typeface="Ubuntu Light" panose="020B0304030602030204" pitchFamily="34" charset="0"/>
                <a:ea typeface="+mn-ea"/>
                <a:cs typeface="+mn-cs"/>
              </a:rPr>
              <a:t> Analysis 		Review 	 </a:t>
            </a:r>
            <a:r>
              <a:rPr kumimoji="0" lang="en-US" sz="6000" b="1" i="0" u="none" strike="noStrike" kern="1200" cap="none" spc="0" normalizeH="0" baseline="0" noProof="0">
                <a:ln w="0"/>
                <a:solidFill>
                  <a:srgbClr val="00B0F0"/>
                </a:solidFill>
                <a:effectLst/>
                <a:uLnTx/>
                <a:uFillTx/>
                <a:latin typeface="Ubuntu Light" panose="020B0304030602030204" pitchFamily="34" charset="0"/>
                <a:ea typeface="+mn-ea"/>
                <a:cs typeface="+mn-cs"/>
              </a:rPr>
              <a:t>Use Cases</a:t>
            </a:r>
            <a:r>
              <a:rPr kumimoji="0" lang="en-US" sz="6000" b="0" i="0" u="none" strike="noStrike" kern="1200" cap="none" spc="0" normalizeH="0" baseline="0" noProof="0">
                <a:ln w="0"/>
                <a:solidFill>
                  <a:srgbClr val="0070AD">
                    <a:lumMod val="20000"/>
                    <a:lumOff val="80000"/>
                  </a:srgbClr>
                </a:solidFill>
                <a:effectLst/>
                <a:uLnTx/>
                <a:uFillTx/>
                <a:latin typeface="Ubuntu Medium"/>
                <a:ea typeface="+mn-ea"/>
                <a:cs typeface="+mn-cs"/>
              </a:rPr>
              <a:t>		</a:t>
            </a:r>
            <a:r>
              <a:rPr kumimoji="0" lang="en-US" sz="6000" b="0" i="0" u="none" strike="noStrike" kern="1200" cap="none" spc="0" normalizeH="0" baseline="0" noProof="0">
                <a:ln w="0"/>
                <a:solidFill>
                  <a:srgbClr val="0070AD">
                    <a:lumMod val="20000"/>
                    <a:lumOff val="80000"/>
                  </a:srgbClr>
                </a:solidFill>
                <a:effectLst/>
                <a:uLnTx/>
                <a:uFillTx/>
                <a:latin typeface="Ubuntu Light" panose="020B0304030602030204" pitchFamily="34" charset="0"/>
                <a:ea typeface="+mn-ea"/>
                <a:cs typeface="+mn-cs"/>
              </a:rPr>
              <a:t>Varied </a:t>
            </a:r>
            <a:r>
              <a:rPr kumimoji="0" lang="en-US" sz="6000" b="1" i="0" u="none" strike="noStrike" kern="1200" cap="none" spc="0" normalizeH="0" baseline="0" noProof="0">
                <a:ln w="0"/>
                <a:solidFill>
                  <a:srgbClr val="00B0F0"/>
                </a:solidFill>
                <a:effectLst/>
                <a:uLnTx/>
                <a:uFillTx/>
                <a:latin typeface="Ubuntu Light" panose="020B0304030602030204" pitchFamily="34" charset="0"/>
                <a:ea typeface="+mn-ea"/>
                <a:cs typeface="+mn-cs"/>
              </a:rPr>
              <a:t>Team</a:t>
            </a:r>
            <a:r>
              <a:rPr kumimoji="0" lang="en-US" sz="6000" b="0" i="0" u="none" strike="noStrike" kern="1200" cap="none" spc="0" normalizeH="0" baseline="0" noProof="0">
                <a:ln w="0"/>
                <a:solidFill>
                  <a:srgbClr val="0070AD">
                    <a:lumMod val="20000"/>
                    <a:lumOff val="80000"/>
                  </a:srgbClr>
                </a:solidFill>
                <a:effectLst/>
                <a:uLnTx/>
                <a:uFillTx/>
                <a:latin typeface="Ubuntu Light" panose="020B0304030602030204" pitchFamily="34" charset="0"/>
                <a:ea typeface="+mn-ea"/>
                <a:cs typeface="+mn-cs"/>
              </a:rPr>
              <a:t>  Involvement</a:t>
            </a:r>
            <a:r>
              <a:rPr kumimoji="0" lang="en-US" sz="6000" b="0" i="0" u="none" strike="noStrike" kern="1200" cap="none" spc="0" normalizeH="0" baseline="0" noProof="0">
                <a:ln w="0"/>
                <a:solidFill>
                  <a:srgbClr val="0070AD">
                    <a:lumMod val="20000"/>
                    <a:lumOff val="80000"/>
                  </a:srgbClr>
                </a:solidFill>
                <a:effectLst/>
                <a:uLnTx/>
                <a:uFillTx/>
                <a:latin typeface="Ubuntu Medium"/>
                <a:ea typeface="+mn-ea"/>
                <a:cs typeface="+mn-cs"/>
              </a:rPr>
              <a:t>		 </a:t>
            </a:r>
            <a:r>
              <a:rPr kumimoji="0" lang="en-US" sz="6000" b="0" i="0" u="none" strike="noStrike" kern="1200" cap="none" spc="0" normalizeH="0" baseline="0" noProof="0">
                <a:ln w="0"/>
                <a:solidFill>
                  <a:srgbClr val="0070AD">
                    <a:lumMod val="20000"/>
                    <a:lumOff val="80000"/>
                  </a:srgbClr>
                </a:solidFill>
                <a:effectLst/>
                <a:uLnTx/>
                <a:uFillTx/>
                <a:latin typeface="Ubuntu Light" panose="020B0304030602030204" pitchFamily="34" charset="0"/>
                <a:ea typeface="+mn-ea"/>
                <a:cs typeface="+mn-cs"/>
              </a:rPr>
              <a:t> </a:t>
            </a:r>
            <a:r>
              <a:rPr kumimoji="0" lang="en-US" sz="6000" b="0" i="0" u="none" strike="noStrike" kern="1200" cap="none" spc="0" normalizeH="0" baseline="0" noProof="0">
                <a:ln w="0"/>
                <a:solidFill>
                  <a:srgbClr val="00B0F0"/>
                </a:solidFill>
                <a:effectLst/>
                <a:uLnTx/>
                <a:uFillTx/>
                <a:latin typeface="Ubuntu Light" panose="020B0304030602030204" pitchFamily="34" charset="0"/>
                <a:ea typeface="+mn-ea"/>
                <a:cs typeface="+mn-cs"/>
              </a:rPr>
              <a:t>Development</a:t>
            </a:r>
            <a:r>
              <a:rPr kumimoji="0" lang="en-US" sz="6000" b="0" i="0" u="none" strike="noStrike" kern="1200" cap="none" spc="0" normalizeH="0" baseline="0" noProof="0">
                <a:ln w="0"/>
                <a:solidFill>
                  <a:srgbClr val="0070AD">
                    <a:lumMod val="20000"/>
                    <a:lumOff val="80000"/>
                  </a:srgbClr>
                </a:solidFill>
                <a:effectLst/>
                <a:uLnTx/>
                <a:uFillTx/>
                <a:latin typeface="Ubuntu Light" panose="020B0304030602030204" pitchFamily="34" charset="0"/>
                <a:ea typeface="+mn-ea"/>
                <a:cs typeface="+mn-cs"/>
              </a:rPr>
              <a:t> and </a:t>
            </a:r>
            <a:r>
              <a:rPr kumimoji="0" lang="en-US" sz="6000" b="0" i="0" u="none" strike="noStrike" kern="1200" cap="none" spc="0" normalizeH="0" baseline="0" noProof="0">
                <a:ln w="0"/>
                <a:solidFill>
                  <a:srgbClr val="00B0F0"/>
                </a:solidFill>
                <a:effectLst/>
                <a:uLnTx/>
                <a:uFillTx/>
                <a:latin typeface="Ubuntu Light" panose="020B0304030602030204" pitchFamily="34" charset="0"/>
                <a:ea typeface="+mn-ea"/>
                <a:cs typeface="+mn-cs"/>
              </a:rPr>
              <a:t>Enhancements</a:t>
            </a:r>
            <a:r>
              <a:rPr kumimoji="0" lang="en-US" sz="6000" b="0" i="0" u="none" strike="noStrike" kern="1200" cap="none" spc="0" normalizeH="0" baseline="0" noProof="0">
                <a:ln w="0"/>
                <a:solidFill>
                  <a:srgbClr val="0070AD">
                    <a:lumMod val="20000"/>
                    <a:lumOff val="80000"/>
                  </a:srgbClr>
                </a:solidFill>
                <a:effectLst/>
                <a:uLnTx/>
                <a:uFillTx/>
                <a:latin typeface="Ubuntu Medium"/>
                <a:ea typeface="+mn-ea"/>
                <a:cs typeface="+mn-cs"/>
              </a:rPr>
              <a:t>		 </a:t>
            </a:r>
            <a:r>
              <a:rPr lang="en-US" sz="6000" b="1">
                <a:ln w="0"/>
                <a:solidFill>
                  <a:srgbClr val="00B0F0"/>
                </a:solidFill>
                <a:latin typeface="Ubuntu Light" panose="020B0304030602030204" pitchFamily="34" charset="0"/>
              </a:rPr>
              <a:t>Deployment</a:t>
            </a:r>
            <a:r>
              <a:rPr kumimoji="0" lang="en-US" sz="6000" i="0" u="none" strike="noStrike" kern="1200" cap="none" spc="0" normalizeH="0" baseline="0" noProof="0">
                <a:ln w="0"/>
                <a:solidFill>
                  <a:srgbClr val="0070AD">
                    <a:lumMod val="20000"/>
                    <a:lumOff val="80000"/>
                  </a:srgbClr>
                </a:solidFill>
                <a:effectLst/>
                <a:uLnTx/>
                <a:uFillTx/>
                <a:latin typeface="Ubuntu Light" panose="020B0304030602030204" pitchFamily="34" charset="0"/>
                <a:ea typeface="+mn-ea"/>
                <a:cs typeface="+mn-cs"/>
              </a:rPr>
              <a:t> &amp; Monitoring</a:t>
            </a:r>
            <a:endParaRPr kumimoji="0" lang="en-US" sz="1400" b="1" i="0" u="none" strike="noStrike" kern="1200" cap="none" spc="0" normalizeH="0" baseline="0" noProof="0">
              <a:ln w="0"/>
              <a:solidFill>
                <a:srgbClr val="00B0F0"/>
              </a:solidFill>
              <a:effectLst/>
              <a:uLnTx/>
              <a:uFillTx/>
              <a:latin typeface="Ubuntu Medium"/>
              <a:ea typeface="+mn-ea"/>
              <a:cs typeface="+mn-cs"/>
            </a:endParaRPr>
          </a:p>
        </p:txBody>
      </p:sp>
      <p:sp>
        <p:nvSpPr>
          <p:cNvPr id="15" name="TextBox 14">
            <a:extLst>
              <a:ext uri="{FF2B5EF4-FFF2-40B4-BE49-F238E27FC236}">
                <a16:creationId xmlns:a16="http://schemas.microsoft.com/office/drawing/2014/main" id="{34E44A34-9490-4007-FF5C-47568FA5DE96}"/>
              </a:ext>
            </a:extLst>
          </p:cNvPr>
          <p:cNvSpPr txBox="1"/>
          <p:nvPr/>
        </p:nvSpPr>
        <p:spPr>
          <a:xfrm>
            <a:off x="7181850" y="5567607"/>
            <a:ext cx="3924296"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B0F0"/>
                </a:solidFill>
                <a:effectLst/>
                <a:uLnTx/>
                <a:uFillTx/>
                <a:latin typeface="Ubuntu Light" panose="020B0304030602030204" pitchFamily="34" charset="0"/>
                <a:ea typeface="+mn-ea"/>
                <a:cs typeface="+mn-cs"/>
              </a:rPr>
              <a:t>Generative AI</a:t>
            </a:r>
            <a:r>
              <a:rPr kumimoji="0" lang="en-GB" sz="11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 is a content engine that, when combined with customer platforms, tooling, and interfaces, will</a:t>
            </a:r>
            <a:r>
              <a:rPr kumimoji="0" lang="en-GB" sz="1100" b="1" i="0" u="none" strike="noStrike" kern="1200" cap="none" spc="0" normalizeH="0" baseline="0" noProof="0">
                <a:ln>
                  <a:noFill/>
                </a:ln>
                <a:solidFill>
                  <a:srgbClr val="0070AD">
                    <a:lumMod val="20000"/>
                    <a:lumOff val="80000"/>
                  </a:srgbClr>
                </a:solidFill>
                <a:effectLst/>
                <a:uLnTx/>
                <a:uFillTx/>
                <a:latin typeface="Ubuntu Light" panose="020B0304030602030204" pitchFamily="34" charset="0"/>
                <a:ea typeface="+mn-ea"/>
                <a:cs typeface="+mn-cs"/>
              </a:rPr>
              <a:t> </a:t>
            </a:r>
            <a:r>
              <a:rPr kumimoji="0" lang="en-GB" sz="1100" b="1" i="0" u="none" strike="noStrike" kern="1200" cap="none" spc="0" normalizeH="0" baseline="0" noProof="0">
                <a:ln>
                  <a:noFill/>
                </a:ln>
                <a:solidFill>
                  <a:srgbClr val="00B0F0"/>
                </a:solidFill>
                <a:effectLst/>
                <a:uLnTx/>
                <a:uFillTx/>
                <a:latin typeface="Ubuntu Light" panose="020B0304030602030204" pitchFamily="34" charset="0"/>
                <a:ea typeface="+mn-ea"/>
                <a:cs typeface="+mn-cs"/>
              </a:rPr>
              <a:t>revolutionize customer experience opportunities in the Salesforce world.</a:t>
            </a:r>
            <a:endParaRPr kumimoji="0" lang="en-GB" sz="900" b="1" i="0" u="none" strike="noStrike" kern="1200" cap="none" spc="0" normalizeH="0" baseline="0" noProof="0">
              <a:ln>
                <a:noFill/>
              </a:ln>
              <a:solidFill>
                <a:srgbClr val="00B0F0"/>
              </a:solidFill>
              <a:effectLst/>
              <a:uLnTx/>
              <a:uFillTx/>
              <a:latin typeface="Ubuntu Medium"/>
              <a:ea typeface="+mn-ea"/>
              <a:cs typeface="+mn-cs"/>
            </a:endParaRPr>
          </a:p>
        </p:txBody>
      </p:sp>
    </p:spTree>
    <p:extLst>
      <p:ext uri="{BB962C8B-B14F-4D97-AF65-F5344CB8AC3E}">
        <p14:creationId xmlns:p14="http://schemas.microsoft.com/office/powerpoint/2010/main" val="770222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a:extLst>
              <a:ext uri="{FF2B5EF4-FFF2-40B4-BE49-F238E27FC236}">
                <a16:creationId xmlns:a16="http://schemas.microsoft.com/office/drawing/2014/main" id="{B4342FEB-C8EB-4DDF-B334-2C87A84EBCD4}"/>
              </a:ext>
            </a:extLst>
          </p:cNvPr>
          <p:cNvGrpSpPr/>
          <p:nvPr/>
        </p:nvGrpSpPr>
        <p:grpSpPr>
          <a:xfrm>
            <a:off x="3577334" y="2078698"/>
            <a:ext cx="5037332" cy="4694943"/>
            <a:chOff x="3577334" y="1699557"/>
            <a:chExt cx="5037332" cy="4694943"/>
          </a:xfrm>
        </p:grpSpPr>
        <p:sp>
          <p:nvSpPr>
            <p:cNvPr id="40" name="Oval 39">
              <a:extLst>
                <a:ext uri="{FF2B5EF4-FFF2-40B4-BE49-F238E27FC236}">
                  <a16:creationId xmlns:a16="http://schemas.microsoft.com/office/drawing/2014/main" id="{2F2FE69A-4AA4-129A-1FA9-0594E10DDCC4}"/>
                </a:ext>
              </a:extLst>
            </p:cNvPr>
            <p:cNvSpPr/>
            <p:nvPr/>
          </p:nvSpPr>
          <p:spPr>
            <a:xfrm>
              <a:off x="4057318" y="2008346"/>
              <a:ext cx="4077362" cy="4077366"/>
            </a:xfrm>
            <a:prstGeom prst="ellipse">
              <a:avLst/>
            </a:prstGeom>
            <a:solidFill>
              <a:schemeClr val="accent4">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0584" tIns="50292" rIns="100584" bIns="502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6" name="Arc 5">
              <a:extLst>
                <a:ext uri="{FF2B5EF4-FFF2-40B4-BE49-F238E27FC236}">
                  <a16:creationId xmlns:a16="http://schemas.microsoft.com/office/drawing/2014/main" id="{94D1A883-8C3A-B359-40D2-C9D0CA75AEC8}"/>
                </a:ext>
              </a:extLst>
            </p:cNvPr>
            <p:cNvSpPr/>
            <p:nvPr/>
          </p:nvSpPr>
          <p:spPr>
            <a:xfrm>
              <a:off x="3751495" y="1699557"/>
              <a:ext cx="4694944" cy="4694943"/>
            </a:xfrm>
            <a:prstGeom prst="arc">
              <a:avLst>
                <a:gd name="adj1" fmla="val 20103925"/>
                <a:gd name="adj2" fmla="val 1791977"/>
              </a:avLst>
            </a:prstGeom>
            <a:ln w="6985">
              <a:solidFill>
                <a:schemeClr val="bg1"/>
              </a:solidFill>
            </a:ln>
          </p:spPr>
          <p:style>
            <a:lnRef idx="1">
              <a:schemeClr val="accent1"/>
            </a:lnRef>
            <a:fillRef idx="0">
              <a:schemeClr val="accent1"/>
            </a:fillRef>
            <a:effectRef idx="0">
              <a:schemeClr val="accent1"/>
            </a:effectRef>
            <a:fontRef idx="minor">
              <a:schemeClr val="tx1"/>
            </a:fontRef>
          </p:style>
          <p:txBody>
            <a:bodyPr lIns="100584" tIns="50292" rIns="100584" bIns="502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sp>
          <p:nvSpPr>
            <p:cNvPr id="7" name="Arc 6">
              <a:extLst>
                <a:ext uri="{FF2B5EF4-FFF2-40B4-BE49-F238E27FC236}">
                  <a16:creationId xmlns:a16="http://schemas.microsoft.com/office/drawing/2014/main" id="{4DE9E19A-FC7E-024A-85DB-9D47E607BF16}"/>
                </a:ext>
              </a:extLst>
            </p:cNvPr>
            <p:cNvSpPr/>
            <p:nvPr/>
          </p:nvSpPr>
          <p:spPr>
            <a:xfrm rot="10800000">
              <a:off x="3751495" y="1699557"/>
              <a:ext cx="4694944" cy="4694943"/>
            </a:xfrm>
            <a:prstGeom prst="arc">
              <a:avLst>
                <a:gd name="adj1" fmla="val 20103925"/>
                <a:gd name="adj2" fmla="val 1791977"/>
              </a:avLst>
            </a:prstGeom>
            <a:ln w="6985">
              <a:solidFill>
                <a:schemeClr val="bg1"/>
              </a:solidFill>
            </a:ln>
          </p:spPr>
          <p:style>
            <a:lnRef idx="1">
              <a:schemeClr val="accent1"/>
            </a:lnRef>
            <a:fillRef idx="0">
              <a:schemeClr val="accent1"/>
            </a:fillRef>
            <a:effectRef idx="0">
              <a:schemeClr val="accent1"/>
            </a:effectRef>
            <a:fontRef idx="minor">
              <a:schemeClr val="tx1"/>
            </a:fontRef>
          </p:style>
          <p:txBody>
            <a:bodyPr lIns="100584" tIns="50292" rIns="100584" bIns="502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cxnSp>
          <p:nvCxnSpPr>
            <p:cNvPr id="26" name="Straight Connector 25">
              <a:extLst>
                <a:ext uri="{FF2B5EF4-FFF2-40B4-BE49-F238E27FC236}">
                  <a16:creationId xmlns:a16="http://schemas.microsoft.com/office/drawing/2014/main" id="{419C05E0-D4D4-2F30-433B-B89F3BC1D1BB}"/>
                </a:ext>
              </a:extLst>
            </p:cNvPr>
            <p:cNvCxnSpPr>
              <a:cxnSpLocks/>
            </p:cNvCxnSpPr>
            <p:nvPr/>
          </p:nvCxnSpPr>
          <p:spPr>
            <a:xfrm rot="10800000" flipH="1">
              <a:off x="8467332" y="4045308"/>
              <a:ext cx="144807" cy="0"/>
            </a:xfrm>
            <a:prstGeom prst="line">
              <a:avLst/>
            </a:prstGeom>
            <a:ln w="698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1809EE1-93CE-A0C3-316E-403276CB0000}"/>
                </a:ext>
              </a:extLst>
            </p:cNvPr>
            <p:cNvCxnSpPr>
              <a:cxnSpLocks/>
            </p:cNvCxnSpPr>
            <p:nvPr/>
          </p:nvCxnSpPr>
          <p:spPr>
            <a:xfrm rot="10800000">
              <a:off x="8614666" y="2513648"/>
              <a:ext cx="0" cy="3065040"/>
            </a:xfrm>
            <a:prstGeom prst="line">
              <a:avLst/>
            </a:prstGeom>
            <a:ln w="6985">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41" name="Picture 40">
              <a:extLst>
                <a:ext uri="{FF2B5EF4-FFF2-40B4-BE49-F238E27FC236}">
                  <a16:creationId xmlns:a16="http://schemas.microsoft.com/office/drawing/2014/main" id="{7F1270E1-9A0B-F513-69C6-F4991C2FF3C5}"/>
                </a:ext>
              </a:extLst>
            </p:cNvPr>
            <p:cNvPicPr>
              <a:picLocks noChangeAspect="1"/>
            </p:cNvPicPr>
            <p:nvPr/>
          </p:nvPicPr>
          <p:blipFill>
            <a:blip r:embed="rId2"/>
            <a:stretch>
              <a:fillRect/>
            </a:stretch>
          </p:blipFill>
          <p:spPr>
            <a:xfrm>
              <a:off x="4226247" y="2234578"/>
              <a:ext cx="3739506" cy="3624900"/>
            </a:xfrm>
            <a:prstGeom prst="rect">
              <a:avLst/>
            </a:prstGeom>
          </p:spPr>
        </p:pic>
        <p:cxnSp>
          <p:nvCxnSpPr>
            <p:cNvPr id="43" name="Straight Connector 42">
              <a:extLst>
                <a:ext uri="{FF2B5EF4-FFF2-40B4-BE49-F238E27FC236}">
                  <a16:creationId xmlns:a16="http://schemas.microsoft.com/office/drawing/2014/main" id="{8A9E1302-82BA-BC74-5642-98BB9C02F5A6}"/>
                </a:ext>
              </a:extLst>
            </p:cNvPr>
            <p:cNvCxnSpPr>
              <a:cxnSpLocks/>
            </p:cNvCxnSpPr>
            <p:nvPr/>
          </p:nvCxnSpPr>
          <p:spPr>
            <a:xfrm flipH="1">
              <a:off x="3579861" y="4047029"/>
              <a:ext cx="144807" cy="0"/>
            </a:xfrm>
            <a:prstGeom prst="line">
              <a:avLst/>
            </a:prstGeom>
            <a:ln w="698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C9C77D0-FAF0-39D2-F5D5-7FB418A32FE0}"/>
                </a:ext>
              </a:extLst>
            </p:cNvPr>
            <p:cNvCxnSpPr>
              <a:cxnSpLocks/>
            </p:cNvCxnSpPr>
            <p:nvPr/>
          </p:nvCxnSpPr>
          <p:spPr>
            <a:xfrm>
              <a:off x="3577334" y="2513648"/>
              <a:ext cx="0" cy="3065040"/>
            </a:xfrm>
            <a:prstGeom prst="line">
              <a:avLst/>
            </a:prstGeom>
            <a:ln w="6985">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9B805CD2-98DD-4F90-D6A5-05515D9ADDB1}"/>
              </a:ext>
            </a:extLst>
          </p:cNvPr>
          <p:cNvGrpSpPr/>
          <p:nvPr/>
        </p:nvGrpSpPr>
        <p:grpSpPr>
          <a:xfrm>
            <a:off x="614129" y="1129553"/>
            <a:ext cx="3301637" cy="4219946"/>
            <a:chOff x="-258126" y="367315"/>
            <a:chExt cx="4173892" cy="4982184"/>
          </a:xfrm>
        </p:grpSpPr>
        <p:pic>
          <p:nvPicPr>
            <p:cNvPr id="52" name="Picture 51">
              <a:extLst>
                <a:ext uri="{FF2B5EF4-FFF2-40B4-BE49-F238E27FC236}">
                  <a16:creationId xmlns:a16="http://schemas.microsoft.com/office/drawing/2014/main" id="{D783AA53-BAA7-AF8F-3F36-D305D2F93367}"/>
                </a:ext>
              </a:extLst>
            </p:cNvPr>
            <p:cNvPicPr>
              <a:picLocks noChangeAspect="1"/>
            </p:cNvPicPr>
            <p:nvPr/>
          </p:nvPicPr>
          <p:blipFill>
            <a:blip r:embed="rId3"/>
            <a:stretch>
              <a:fillRect/>
            </a:stretch>
          </p:blipFill>
          <p:spPr>
            <a:xfrm>
              <a:off x="1217314" y="367315"/>
              <a:ext cx="1885950" cy="1666875"/>
            </a:xfrm>
            <a:prstGeom prst="round2SameRect">
              <a:avLst/>
            </a:prstGeom>
            <a:solidFill>
              <a:schemeClr val="accent1">
                <a:alpha val="60000"/>
              </a:schemeClr>
            </a:solidFill>
            <a:ln>
              <a:noFill/>
            </a:ln>
          </p:spPr>
        </p:pic>
        <p:sp>
          <p:nvSpPr>
            <p:cNvPr id="9" name="Rectangle: Rounded Corners 8">
              <a:extLst>
                <a:ext uri="{FF2B5EF4-FFF2-40B4-BE49-F238E27FC236}">
                  <a16:creationId xmlns:a16="http://schemas.microsoft.com/office/drawing/2014/main" id="{C699BA5B-6B67-8EAB-FFDF-D22102FBF1FB}"/>
                </a:ext>
              </a:extLst>
            </p:cNvPr>
            <p:cNvSpPr/>
            <p:nvPr/>
          </p:nvSpPr>
          <p:spPr>
            <a:xfrm>
              <a:off x="404813" y="1795346"/>
              <a:ext cx="3510953" cy="61263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0904" tIns="60904" rIns="60904" bIns="60904" rtlCol="0" anchor="ctr">
              <a:noAutofit/>
            </a:bodyPr>
            <a:lstStyle/>
            <a:p>
              <a:pPr marL="0" marR="0" lvl="0" indent="0" algn="ctr" defTabSz="60903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Ubuntu"/>
                  <a:ea typeface="Roboto Light" panose="02000000000000000000" pitchFamily="2" charset="0"/>
                  <a:cs typeface="+mn-cs"/>
                </a:rPr>
                <a:t>TOP LINE</a:t>
              </a:r>
            </a:p>
          </p:txBody>
        </p:sp>
        <p:sp>
          <p:nvSpPr>
            <p:cNvPr id="48" name="TextBox 47">
              <a:extLst>
                <a:ext uri="{FF2B5EF4-FFF2-40B4-BE49-F238E27FC236}">
                  <a16:creationId xmlns:a16="http://schemas.microsoft.com/office/drawing/2014/main" id="{10AF125B-BA3C-BA2A-F198-C9043E4BBD9F}"/>
                </a:ext>
              </a:extLst>
            </p:cNvPr>
            <p:cNvSpPr txBox="1"/>
            <p:nvPr/>
          </p:nvSpPr>
          <p:spPr>
            <a:xfrm>
              <a:off x="-258126" y="3502839"/>
              <a:ext cx="3425256" cy="1846660"/>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a:ln>
                    <a:noFill/>
                  </a:ln>
                  <a:solidFill>
                    <a:srgbClr val="FFFFFF"/>
                  </a:solidFill>
                  <a:effectLst/>
                  <a:uLnTx/>
                  <a:uFillTx/>
                  <a:latin typeface="Ubuntu"/>
                  <a:ea typeface="+mn-ea"/>
                  <a:cs typeface="+mn-cs"/>
                </a:rPr>
                <a:t>Top Line Initiatives to generate value across life cycle of Marketing Sales, Service, and Commerce.</a:t>
              </a:r>
            </a:p>
          </p:txBody>
        </p:sp>
      </p:grpSp>
      <p:grpSp>
        <p:nvGrpSpPr>
          <p:cNvPr id="3" name="Group 2">
            <a:extLst>
              <a:ext uri="{FF2B5EF4-FFF2-40B4-BE49-F238E27FC236}">
                <a16:creationId xmlns:a16="http://schemas.microsoft.com/office/drawing/2014/main" id="{0B44F32D-599D-3BBE-0C45-69DF7AC5A5B6}"/>
              </a:ext>
            </a:extLst>
          </p:cNvPr>
          <p:cNvGrpSpPr/>
          <p:nvPr/>
        </p:nvGrpSpPr>
        <p:grpSpPr>
          <a:xfrm>
            <a:off x="9005813" y="1058922"/>
            <a:ext cx="2835630" cy="4064350"/>
            <a:chOff x="8256672" y="367315"/>
            <a:chExt cx="3584771" cy="4798484"/>
          </a:xfrm>
        </p:grpSpPr>
        <p:pic>
          <p:nvPicPr>
            <p:cNvPr id="53" name="Picture 52">
              <a:extLst>
                <a:ext uri="{FF2B5EF4-FFF2-40B4-BE49-F238E27FC236}">
                  <a16:creationId xmlns:a16="http://schemas.microsoft.com/office/drawing/2014/main" id="{228ED430-D7B0-B03A-9E9E-61578A468AEB}"/>
                </a:ext>
              </a:extLst>
            </p:cNvPr>
            <p:cNvPicPr>
              <a:picLocks noChangeAspect="1"/>
            </p:cNvPicPr>
            <p:nvPr/>
          </p:nvPicPr>
          <p:blipFill>
            <a:blip r:embed="rId4"/>
            <a:stretch>
              <a:fillRect/>
            </a:stretch>
          </p:blipFill>
          <p:spPr>
            <a:xfrm>
              <a:off x="9052113" y="367315"/>
              <a:ext cx="1920071" cy="1666875"/>
            </a:xfrm>
            <a:prstGeom prst="round2SameRect">
              <a:avLst/>
            </a:prstGeom>
            <a:solidFill>
              <a:srgbClr val="FF5770">
                <a:alpha val="58000"/>
              </a:srgbClr>
            </a:solidFill>
            <a:ln>
              <a:noFill/>
            </a:ln>
          </p:spPr>
        </p:pic>
        <p:sp>
          <p:nvSpPr>
            <p:cNvPr id="8" name="Rectangle: Rounded Corners 7">
              <a:extLst>
                <a:ext uri="{FF2B5EF4-FFF2-40B4-BE49-F238E27FC236}">
                  <a16:creationId xmlns:a16="http://schemas.microsoft.com/office/drawing/2014/main" id="{D35CC2E5-3C55-3526-73AC-FB15A8F975BB}"/>
                </a:ext>
              </a:extLst>
            </p:cNvPr>
            <p:cNvSpPr/>
            <p:nvPr/>
          </p:nvSpPr>
          <p:spPr>
            <a:xfrm>
              <a:off x="8256672" y="1795346"/>
              <a:ext cx="3510953" cy="612639"/>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0904" tIns="60904" rIns="60904" bIns="60904" rtlCol="0" anchor="ctr">
              <a:noAutofit/>
            </a:bodyPr>
            <a:lstStyle/>
            <a:p>
              <a:pPr marL="0" marR="0" lvl="0" indent="0" algn="ctr" defTabSz="60903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Ubuntu"/>
                  <a:ea typeface="Roboto Light" panose="02000000000000000000" pitchFamily="2" charset="0"/>
                  <a:cs typeface="+mn-cs"/>
                </a:rPr>
                <a:t>BOTTOM LINE</a:t>
              </a:r>
            </a:p>
          </p:txBody>
        </p:sp>
        <p:sp>
          <p:nvSpPr>
            <p:cNvPr id="49" name="TextBox 48">
              <a:extLst>
                <a:ext uri="{FF2B5EF4-FFF2-40B4-BE49-F238E27FC236}">
                  <a16:creationId xmlns:a16="http://schemas.microsoft.com/office/drawing/2014/main" id="{D0AA2A3C-FCF0-6BE2-C586-986ED5B0F415}"/>
                </a:ext>
              </a:extLst>
            </p:cNvPr>
            <p:cNvSpPr txBox="1"/>
            <p:nvPr/>
          </p:nvSpPr>
          <p:spPr>
            <a:xfrm>
              <a:off x="8330490" y="3348951"/>
              <a:ext cx="3177749" cy="1816848"/>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a:ln>
                    <a:noFill/>
                  </a:ln>
                  <a:solidFill>
                    <a:srgbClr val="FFFFFF"/>
                  </a:solidFill>
                  <a:effectLst/>
                  <a:uLnTx/>
                  <a:uFillTx/>
                  <a:latin typeface="Ubuntu"/>
                  <a:ea typeface="+mn-ea"/>
                  <a:cs typeface="+mn-cs"/>
                </a:rPr>
                <a:t>Bottom Line Initiatives to improve speed, productive, efficiency in CX Projects.</a:t>
              </a:r>
            </a:p>
          </p:txBody>
        </p:sp>
        <p:sp>
          <p:nvSpPr>
            <p:cNvPr id="50" name="Rectangle: Rounded Corners 49">
              <a:extLst>
                <a:ext uri="{FF2B5EF4-FFF2-40B4-BE49-F238E27FC236}">
                  <a16:creationId xmlns:a16="http://schemas.microsoft.com/office/drawing/2014/main" id="{B9C873EA-47BF-283E-4B4F-DDC32EED5D18}"/>
                </a:ext>
              </a:extLst>
            </p:cNvPr>
            <p:cNvSpPr/>
            <p:nvPr/>
          </p:nvSpPr>
          <p:spPr>
            <a:xfrm>
              <a:off x="8330490" y="1715303"/>
              <a:ext cx="3510953" cy="612639"/>
            </a:xfrm>
            <a:prstGeom prst="roundRect">
              <a:avLst>
                <a:gd name="adj" fmla="val 5000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0904" tIns="60904" rIns="60904" bIns="60904" rtlCol="0" anchor="ctr">
              <a:noAutofit/>
            </a:bodyPr>
            <a:lstStyle/>
            <a:p>
              <a:pPr marL="0" marR="0" lvl="0" indent="0" algn="ctr" defTabSz="609036"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Ubuntu"/>
                <a:ea typeface="Roboto Light" panose="02000000000000000000" pitchFamily="2" charset="0"/>
                <a:cs typeface="+mn-cs"/>
              </a:endParaRPr>
            </a:p>
          </p:txBody>
        </p:sp>
      </p:grpSp>
      <p:sp>
        <p:nvSpPr>
          <p:cNvPr id="51" name="Rectangle: Rounded Corners 50">
            <a:extLst>
              <a:ext uri="{FF2B5EF4-FFF2-40B4-BE49-F238E27FC236}">
                <a16:creationId xmlns:a16="http://schemas.microsoft.com/office/drawing/2014/main" id="{572E28F4-F49D-3089-292D-F542E5CC5DC5}"/>
              </a:ext>
            </a:extLst>
          </p:cNvPr>
          <p:cNvSpPr/>
          <p:nvPr/>
        </p:nvSpPr>
        <p:spPr>
          <a:xfrm>
            <a:off x="1212346" y="1809032"/>
            <a:ext cx="2777238" cy="518910"/>
          </a:xfrm>
          <a:prstGeom prst="roundRect">
            <a:avLst>
              <a:gd name="adj" fmla="val 5000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0904" tIns="60904" rIns="60904" bIns="60904" rtlCol="0" anchor="ctr">
            <a:noAutofit/>
          </a:bodyPr>
          <a:lstStyle/>
          <a:p>
            <a:pPr marL="0" marR="0" lvl="0" indent="0" algn="ctr" defTabSz="609036"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Ubuntu"/>
              <a:ea typeface="Roboto Light" panose="02000000000000000000" pitchFamily="2" charset="0"/>
              <a:cs typeface="+mn-cs"/>
            </a:endParaRPr>
          </a:p>
        </p:txBody>
      </p:sp>
      <p:sp>
        <p:nvSpPr>
          <p:cNvPr id="4" name="Title 6">
            <a:extLst>
              <a:ext uri="{FF2B5EF4-FFF2-40B4-BE49-F238E27FC236}">
                <a16:creationId xmlns:a16="http://schemas.microsoft.com/office/drawing/2014/main" id="{12985EC3-5E0C-6AD3-43E7-47C75333CF90}"/>
              </a:ext>
            </a:extLst>
          </p:cNvPr>
          <p:cNvSpPr>
            <a:spLocks noGrp="1"/>
          </p:cNvSpPr>
          <p:nvPr>
            <p:ph type="title"/>
          </p:nvPr>
        </p:nvSpPr>
        <p:spPr>
          <a:xfrm>
            <a:off x="450890" y="272928"/>
            <a:ext cx="10947400" cy="715962"/>
          </a:xfrm>
        </p:spPr>
        <p:txBody>
          <a:bodyPr anchor="t"/>
          <a:lstStyle/>
          <a:p>
            <a:r>
              <a:rPr lang="en-US" sz="2300">
                <a:latin typeface="+mn-lt"/>
              </a:rPr>
              <a:t>OUR GEN AI FOR CX OFFER For Salesforce focuses ON both TOP Line and Bottom-Line Use Cases</a:t>
            </a:r>
          </a:p>
        </p:txBody>
      </p:sp>
      <p:pic>
        <p:nvPicPr>
          <p:cNvPr id="10" name="Picture 9">
            <a:extLst>
              <a:ext uri="{FF2B5EF4-FFF2-40B4-BE49-F238E27FC236}">
                <a16:creationId xmlns:a16="http://schemas.microsoft.com/office/drawing/2014/main" id="{6D3D88DB-B77B-0E1B-89E7-614FBF1BADF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572909" y="107616"/>
            <a:ext cx="622300" cy="622300"/>
          </a:xfrm>
          <a:prstGeom prst="rect">
            <a:avLst/>
          </a:prstGeom>
        </p:spPr>
      </p:pic>
    </p:spTree>
    <p:extLst>
      <p:ext uri="{BB962C8B-B14F-4D97-AF65-F5344CB8AC3E}">
        <p14:creationId xmlns:p14="http://schemas.microsoft.com/office/powerpoint/2010/main" val="5823926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digital artwork representing Generative AI in the Software Lifecycle of Salesforce Projects. The image shows a futuristic, abstract representation of the software development cycle, with Salesforce logos and symbols integrated into the design. Visual elements include coding screens, AI-generated graphs, and flowcharts. The AI component is symbolized by a stylized, digital brain or neural network, showcasing its involvement in various stages like design, development, testing, and deployment. The color scheme is a mix of Salesforce blue and vibrant tech-inspired colors, creating a dynamic and tech-savvy atmosphere.">
            <a:extLst>
              <a:ext uri="{FF2B5EF4-FFF2-40B4-BE49-F238E27FC236}">
                <a16:creationId xmlns:a16="http://schemas.microsoft.com/office/drawing/2014/main" id="{3D7ED94E-F77C-30BC-C328-60C197BE906C}"/>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EB3DF2A9-2B6F-BDDB-74D8-D97B322C1893}"/>
              </a:ext>
            </a:extLst>
          </p:cNvPr>
          <p:cNvSpPr>
            <a:spLocks noGrp="1" noRot="1" noMove="1" noResize="1" noEditPoints="1" noAdjustHandles="1" noChangeArrowheads="1" noChangeShapeType="1"/>
          </p:cNvSpPr>
          <p:nvPr/>
        </p:nvSpPr>
        <p:spPr>
          <a:xfrm>
            <a:off x="0" y="0"/>
            <a:ext cx="12191980" cy="6858000"/>
          </a:xfrm>
          <a:prstGeom prst="rect">
            <a:avLst/>
          </a:prstGeom>
          <a:gradFill>
            <a:gsLst>
              <a:gs pos="0">
                <a:schemeClr val="tx1"/>
              </a:gs>
              <a:gs pos="86000">
                <a:schemeClr val="tx1">
                  <a:alpha val="5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1078" name="Title 2">
            <a:extLst>
              <a:ext uri="{FF2B5EF4-FFF2-40B4-BE49-F238E27FC236}">
                <a16:creationId xmlns:a16="http://schemas.microsoft.com/office/drawing/2014/main" id="{030B85F3-DADC-B47E-D112-D8E4E391763C}"/>
              </a:ext>
            </a:extLst>
          </p:cNvPr>
          <p:cNvSpPr>
            <a:spLocks noGrp="1"/>
          </p:cNvSpPr>
          <p:nvPr>
            <p:ph type="title"/>
          </p:nvPr>
        </p:nvSpPr>
        <p:spPr>
          <a:xfrm>
            <a:off x="404813" y="136064"/>
            <a:ext cx="11105864" cy="716711"/>
          </a:xfrm>
        </p:spPr>
        <p:txBody>
          <a:bodyPr/>
          <a:lstStyle/>
          <a:p>
            <a:r>
              <a:rPr lang="en-SE"/>
              <a:t>SALESFORCE GENAI </a:t>
            </a:r>
            <a:r>
              <a:rPr lang="en-IN"/>
              <a:t>Productivity </a:t>
            </a:r>
            <a:r>
              <a:rPr lang="en-SE"/>
              <a:t>STACK</a:t>
            </a:r>
            <a:br>
              <a:rPr lang="en-SE"/>
            </a:br>
            <a:r>
              <a:rPr lang="en-US" sz="1100" cap="none">
                <a:solidFill>
                  <a:schemeClr val="accent2"/>
                </a:solidFill>
                <a:latin typeface="Ubuntu"/>
                <a:ea typeface="+mn-ea"/>
                <a:cs typeface="+mn-cs"/>
              </a:rPr>
              <a:t>TOOLS FOR </a:t>
            </a:r>
            <a:r>
              <a:rPr lang="en-SE" sz="1100" cap="none">
                <a:solidFill>
                  <a:schemeClr val="accent2"/>
                </a:solidFill>
                <a:latin typeface="Ubuntu"/>
                <a:ea typeface="+mn-ea"/>
                <a:cs typeface="+mn-cs"/>
              </a:rPr>
              <a:t> CONNECTING TO AND CONSUMING GENAI  ACROSS THE PLATFORM (CONFIG, API, FLOW AND APEX) </a:t>
            </a:r>
            <a:endParaRPr lang="en-US" sz="1100" cap="none">
              <a:solidFill>
                <a:schemeClr val="accent2"/>
              </a:solidFill>
              <a:latin typeface="Ubuntu"/>
              <a:ea typeface="+mn-ea"/>
              <a:cs typeface="+mn-cs"/>
            </a:endParaRPr>
          </a:p>
        </p:txBody>
      </p:sp>
      <p:pic>
        <p:nvPicPr>
          <p:cNvPr id="3" name="Picture 2">
            <a:extLst>
              <a:ext uri="{FF2B5EF4-FFF2-40B4-BE49-F238E27FC236}">
                <a16:creationId xmlns:a16="http://schemas.microsoft.com/office/drawing/2014/main" id="{225C93EE-1E70-8FD9-C00E-738AC83879F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72909" y="107616"/>
            <a:ext cx="622300" cy="622300"/>
          </a:xfrm>
          <a:prstGeom prst="rect">
            <a:avLst/>
          </a:prstGeom>
        </p:spPr>
      </p:pic>
      <p:sp>
        <p:nvSpPr>
          <p:cNvPr id="17" name="Rectangle: Rounded Corners 16">
            <a:extLst>
              <a:ext uri="{FF2B5EF4-FFF2-40B4-BE49-F238E27FC236}">
                <a16:creationId xmlns:a16="http://schemas.microsoft.com/office/drawing/2014/main" id="{C21C4221-4D9E-8EBE-4E46-2979155510A7}"/>
              </a:ext>
            </a:extLst>
          </p:cNvPr>
          <p:cNvSpPr/>
          <p:nvPr/>
        </p:nvSpPr>
        <p:spPr>
          <a:xfrm>
            <a:off x="2012727" y="912830"/>
            <a:ext cx="3793202" cy="38102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WHEN TO USE</a:t>
            </a:r>
            <a:endParaRPr kumimoji="0" lang="en-US" sz="800" b="0" i="0" u="none" strike="noStrike" kern="1200" cap="none" spc="0" normalizeH="0" baseline="0" noProof="0" err="1">
              <a:ln>
                <a:noFill/>
              </a:ln>
              <a:solidFill>
                <a:srgbClr val="FFFFFF"/>
              </a:solidFill>
              <a:effectLst/>
              <a:uLnTx/>
              <a:uFillTx/>
              <a:latin typeface="Ubuntu"/>
              <a:ea typeface="+mn-ea"/>
              <a:cs typeface="+mn-cs"/>
            </a:endParaRPr>
          </a:p>
        </p:txBody>
      </p:sp>
      <p:sp>
        <p:nvSpPr>
          <p:cNvPr id="49" name="Rectangle: Rounded Corners 48">
            <a:extLst>
              <a:ext uri="{FF2B5EF4-FFF2-40B4-BE49-F238E27FC236}">
                <a16:creationId xmlns:a16="http://schemas.microsoft.com/office/drawing/2014/main" id="{6028D57F-D0F1-4EEC-1220-089C67B28B9E}"/>
              </a:ext>
            </a:extLst>
          </p:cNvPr>
          <p:cNvSpPr/>
          <p:nvPr/>
        </p:nvSpPr>
        <p:spPr>
          <a:xfrm>
            <a:off x="383908" y="912830"/>
            <a:ext cx="1604733" cy="38102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CAPABILTIY</a:t>
            </a:r>
            <a:endParaRPr kumimoji="0" lang="en-US" sz="800" b="0" i="0" u="none" strike="noStrike" kern="1200" cap="none" spc="0" normalizeH="0" baseline="0" noProof="0" err="1">
              <a:ln>
                <a:noFill/>
              </a:ln>
              <a:solidFill>
                <a:srgbClr val="FFFFFF"/>
              </a:solidFill>
              <a:effectLst/>
              <a:uLnTx/>
              <a:uFillTx/>
              <a:latin typeface="Ubuntu"/>
              <a:ea typeface="+mn-ea"/>
              <a:cs typeface="+mn-cs"/>
            </a:endParaRPr>
          </a:p>
        </p:txBody>
      </p:sp>
      <p:sp>
        <p:nvSpPr>
          <p:cNvPr id="50" name="Rectangle: Rounded Corners 49">
            <a:extLst>
              <a:ext uri="{FF2B5EF4-FFF2-40B4-BE49-F238E27FC236}">
                <a16:creationId xmlns:a16="http://schemas.microsoft.com/office/drawing/2014/main" id="{3CA13106-EB15-4D20-7298-E81999BC5D0C}"/>
              </a:ext>
            </a:extLst>
          </p:cNvPr>
          <p:cNvSpPr/>
          <p:nvPr/>
        </p:nvSpPr>
        <p:spPr>
          <a:xfrm>
            <a:off x="5830015" y="912830"/>
            <a:ext cx="3096961" cy="38102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COMPONENTS</a:t>
            </a:r>
            <a:endParaRPr kumimoji="0" lang="en-US" sz="800" b="0" i="0" u="none" strike="noStrike" kern="1200" cap="none" spc="0" normalizeH="0" baseline="0" noProof="0" err="1">
              <a:ln>
                <a:noFill/>
              </a:ln>
              <a:solidFill>
                <a:srgbClr val="FFFFFF"/>
              </a:solidFill>
              <a:effectLst/>
              <a:uLnTx/>
              <a:uFillTx/>
              <a:latin typeface="Ubuntu"/>
              <a:ea typeface="+mn-ea"/>
              <a:cs typeface="+mn-cs"/>
            </a:endParaRPr>
          </a:p>
        </p:txBody>
      </p:sp>
      <p:sp>
        <p:nvSpPr>
          <p:cNvPr id="51" name="Rectangle: Rounded Corners 50">
            <a:extLst>
              <a:ext uri="{FF2B5EF4-FFF2-40B4-BE49-F238E27FC236}">
                <a16:creationId xmlns:a16="http://schemas.microsoft.com/office/drawing/2014/main" id="{D6810FA2-0B76-2757-5A56-1E7CC9F1A630}"/>
              </a:ext>
            </a:extLst>
          </p:cNvPr>
          <p:cNvSpPr/>
          <p:nvPr/>
        </p:nvSpPr>
        <p:spPr>
          <a:xfrm>
            <a:off x="8951063" y="912830"/>
            <a:ext cx="3096961" cy="38102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HOW IT EMBEDS INTO THE PLATFORM</a:t>
            </a:r>
            <a:endParaRPr kumimoji="0" lang="en-US" sz="800" b="0" i="0" u="none" strike="noStrike" kern="1200" cap="none" spc="0" normalizeH="0" baseline="0" noProof="0" err="1">
              <a:ln>
                <a:noFill/>
              </a:ln>
              <a:solidFill>
                <a:srgbClr val="FFFFFF"/>
              </a:solidFill>
              <a:effectLst/>
              <a:uLnTx/>
              <a:uFillTx/>
              <a:latin typeface="Ubuntu"/>
              <a:ea typeface="+mn-ea"/>
              <a:cs typeface="+mn-cs"/>
            </a:endParaRPr>
          </a:p>
        </p:txBody>
      </p:sp>
      <p:sp>
        <p:nvSpPr>
          <p:cNvPr id="57" name="Rectangle: Rounded Corners 56">
            <a:extLst>
              <a:ext uri="{FF2B5EF4-FFF2-40B4-BE49-F238E27FC236}">
                <a16:creationId xmlns:a16="http://schemas.microsoft.com/office/drawing/2014/main" id="{5461B26C-995B-8413-B631-91B02AA4C419}"/>
              </a:ext>
            </a:extLst>
          </p:cNvPr>
          <p:cNvSpPr/>
          <p:nvPr/>
        </p:nvSpPr>
        <p:spPr>
          <a:xfrm>
            <a:off x="383908" y="1254244"/>
            <a:ext cx="11688201" cy="2982272"/>
          </a:xfrm>
          <a:prstGeom prst="roundRect">
            <a:avLst>
              <a:gd name="adj" fmla="val 3997"/>
            </a:avLst>
          </a:prstGeom>
          <a:solidFill>
            <a:schemeClr val="bg2">
              <a:lumMod val="10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9" name="Rectangle: Rounded Corners 18">
            <a:extLst>
              <a:ext uri="{FF2B5EF4-FFF2-40B4-BE49-F238E27FC236}">
                <a16:creationId xmlns:a16="http://schemas.microsoft.com/office/drawing/2014/main" id="{FFFFCF8A-17D9-C8A3-0653-ABCFD7858839}"/>
              </a:ext>
            </a:extLst>
          </p:cNvPr>
          <p:cNvSpPr/>
          <p:nvPr/>
        </p:nvSpPr>
        <p:spPr>
          <a:xfrm>
            <a:off x="476368" y="2313007"/>
            <a:ext cx="1490248" cy="90622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1100" b="0" i="0" u="none" strike="noStrike" kern="1200" cap="none" spc="0" normalizeH="0" baseline="0" noProof="0">
                <a:ln>
                  <a:noFill/>
                </a:ln>
                <a:solidFill>
                  <a:srgbClr val="FFFFFF"/>
                </a:solidFill>
                <a:effectLst/>
                <a:uLnTx/>
                <a:uFillTx/>
                <a:latin typeface="Ubuntu"/>
                <a:ea typeface="+mn-ea"/>
                <a:cs typeface="+mn-cs"/>
              </a:rPr>
              <a:t>PROMPT BUILDER</a:t>
            </a:r>
            <a:endParaRPr kumimoji="0" lang="en-US" sz="1100" b="0" i="0" u="none" strike="noStrike" kern="1200" cap="none" spc="0" normalizeH="0" baseline="0" noProof="0">
              <a:ln>
                <a:noFill/>
              </a:ln>
              <a:solidFill>
                <a:srgbClr val="FFFFFF"/>
              </a:solidFill>
              <a:effectLst/>
              <a:uLnTx/>
              <a:uFillTx/>
              <a:latin typeface="Ubuntu"/>
              <a:ea typeface="+mn-ea"/>
              <a:cs typeface="+mn-cs"/>
            </a:endParaRPr>
          </a:p>
        </p:txBody>
      </p:sp>
      <p:sp>
        <p:nvSpPr>
          <p:cNvPr id="22" name="Rectangle: Rounded Corners 21">
            <a:extLst>
              <a:ext uri="{FF2B5EF4-FFF2-40B4-BE49-F238E27FC236}">
                <a16:creationId xmlns:a16="http://schemas.microsoft.com/office/drawing/2014/main" id="{47139625-CF84-DDEF-8259-72B01A532293}"/>
              </a:ext>
            </a:extLst>
          </p:cNvPr>
          <p:cNvSpPr/>
          <p:nvPr/>
        </p:nvSpPr>
        <p:spPr>
          <a:xfrm>
            <a:off x="476368" y="1347098"/>
            <a:ext cx="1490248" cy="90622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1100" b="0" i="0" u="none" strike="noStrike" kern="1200" cap="none" spc="0" normalizeH="0" baseline="0" noProof="0">
                <a:ln>
                  <a:noFill/>
                </a:ln>
                <a:solidFill>
                  <a:srgbClr val="FFFFFF"/>
                </a:solidFill>
                <a:effectLst/>
                <a:uLnTx/>
                <a:uFillTx/>
                <a:latin typeface="Ubuntu"/>
                <a:ea typeface="+mn-ea"/>
                <a:cs typeface="+mn-cs"/>
              </a:rPr>
              <a:t>CO PILOT</a:t>
            </a:r>
            <a:endParaRPr kumimoji="0" lang="en-US" sz="1100" b="0" i="0" u="none" strike="noStrike" kern="1200" cap="none" spc="0" normalizeH="0" baseline="0" noProof="0" err="1">
              <a:ln>
                <a:noFill/>
              </a:ln>
              <a:solidFill>
                <a:srgbClr val="FFFFFF"/>
              </a:solidFill>
              <a:effectLst/>
              <a:uLnTx/>
              <a:uFillTx/>
              <a:latin typeface="Ubuntu"/>
              <a:ea typeface="+mn-ea"/>
              <a:cs typeface="+mn-cs"/>
            </a:endParaRPr>
          </a:p>
        </p:txBody>
      </p:sp>
      <p:sp>
        <p:nvSpPr>
          <p:cNvPr id="23" name="Rectangle: Rounded Corners 22">
            <a:extLst>
              <a:ext uri="{FF2B5EF4-FFF2-40B4-BE49-F238E27FC236}">
                <a16:creationId xmlns:a16="http://schemas.microsoft.com/office/drawing/2014/main" id="{055FCE4C-13F2-067B-5C38-C3CBF52987D6}"/>
              </a:ext>
            </a:extLst>
          </p:cNvPr>
          <p:cNvSpPr/>
          <p:nvPr/>
        </p:nvSpPr>
        <p:spPr>
          <a:xfrm>
            <a:off x="476368" y="3256053"/>
            <a:ext cx="1490248" cy="90093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1100" b="0" i="0" u="none" strike="noStrike" kern="1200" cap="none" spc="0" normalizeH="0" baseline="0" noProof="0">
                <a:ln>
                  <a:noFill/>
                </a:ln>
                <a:solidFill>
                  <a:srgbClr val="FFFFFF"/>
                </a:solidFill>
                <a:effectLst/>
                <a:uLnTx/>
                <a:uFillTx/>
                <a:latin typeface="Ubuntu"/>
                <a:ea typeface="+mn-ea"/>
                <a:cs typeface="+mn-cs"/>
              </a:rPr>
              <a:t>MODEL BUILDER</a:t>
            </a:r>
            <a:endParaRPr kumimoji="0" lang="en-US" sz="1100" b="0" i="0" u="none" strike="noStrike" kern="1200" cap="none" spc="0" normalizeH="0" baseline="0" noProof="0" err="1">
              <a:ln>
                <a:noFill/>
              </a:ln>
              <a:solidFill>
                <a:srgbClr val="FFFFFF"/>
              </a:solidFill>
              <a:effectLst/>
              <a:uLnTx/>
              <a:uFillTx/>
              <a:latin typeface="Ubuntu"/>
              <a:ea typeface="+mn-ea"/>
              <a:cs typeface="+mn-cs"/>
            </a:endParaRPr>
          </a:p>
        </p:txBody>
      </p:sp>
      <p:sp>
        <p:nvSpPr>
          <p:cNvPr id="24" name="Rectangle: Rounded Corners 23">
            <a:extLst>
              <a:ext uri="{FF2B5EF4-FFF2-40B4-BE49-F238E27FC236}">
                <a16:creationId xmlns:a16="http://schemas.microsoft.com/office/drawing/2014/main" id="{25C46E7C-12ED-7E53-6DB6-ADE4530D44F0}"/>
              </a:ext>
            </a:extLst>
          </p:cNvPr>
          <p:cNvSpPr/>
          <p:nvPr/>
        </p:nvSpPr>
        <p:spPr>
          <a:xfrm>
            <a:off x="2021658" y="1347098"/>
            <a:ext cx="3760919" cy="924141"/>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1" i="0" u="none" strike="noStrike" kern="1200" cap="none" spc="0" normalizeH="0" baseline="0" noProof="0">
                <a:ln>
                  <a:noFill/>
                </a:ln>
                <a:solidFill>
                  <a:prstClr val="black">
                    <a:lumMod val="75000"/>
                    <a:lumOff val="25000"/>
                  </a:prstClr>
                </a:solidFill>
                <a:effectLst/>
                <a:uLnTx/>
                <a:uFillTx/>
                <a:latin typeface="Ubuntu"/>
                <a:ea typeface="+mn-ea"/>
                <a:cs typeface="+mn-cs"/>
              </a:rPr>
              <a:t>Conversational AI Assistant for end users aimed at Sales, Service and Marketing ‘Flow of Work’ Use Cases.</a:t>
            </a:r>
            <a:endParaRPr kumimoji="0" lang="en-SE" sz="800" b="0" i="0" u="none" strike="noStrike" kern="1200" cap="none" spc="0" normalizeH="0" baseline="0" noProof="0">
              <a:ln>
                <a:noFill/>
              </a:ln>
              <a:solidFill>
                <a:prstClr val="black">
                  <a:lumMod val="75000"/>
                  <a:lumOff val="25000"/>
                </a:prstClr>
              </a:solidFill>
              <a:effectLst/>
              <a:uLnTx/>
              <a:uFillTx/>
              <a:latin typeface="Ubuntu"/>
              <a:ea typeface="+mn-ea"/>
              <a:cs typeface="+mn-cs"/>
            </a:endParaRPr>
          </a:p>
          <a:p>
            <a:pPr marL="171450" marR="0" lvl="0" indent="-171450" algn="ctr"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SE" sz="800" b="0" i="0" u="none" strike="noStrike" kern="1200" cap="none" spc="0" normalizeH="0" baseline="0" noProof="0">
                <a:ln>
                  <a:noFill/>
                </a:ln>
                <a:solidFill>
                  <a:prstClr val="black">
                    <a:lumMod val="75000"/>
                    <a:lumOff val="25000"/>
                  </a:prstClr>
                </a:solidFill>
                <a:effectLst/>
                <a:uLnTx/>
                <a:uFillTx/>
                <a:latin typeface="Ubuntu"/>
                <a:ea typeface="+mn-ea"/>
                <a:cs typeface="+mn-cs"/>
              </a:rPr>
              <a:t>Able to summarise and supply content to user or any part of the platform (or external system) from the conversation pane.</a:t>
            </a:r>
          </a:p>
          <a:p>
            <a:pPr marL="171450" marR="0" lvl="0" indent="-171450" algn="ctr"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lumMod val="75000"/>
                    <a:lumOff val="25000"/>
                  </a:prstClr>
                </a:solidFill>
                <a:effectLst/>
                <a:uLnTx/>
                <a:uFillTx/>
                <a:latin typeface="Ubuntu"/>
                <a:ea typeface="+mn-ea"/>
                <a:cs typeface="+mn-cs"/>
              </a:rPr>
              <a:t>A</a:t>
            </a:r>
            <a:r>
              <a:rPr kumimoji="0" lang="en-SE" sz="800" b="0" i="0" u="none" strike="noStrike" kern="1200" cap="none" spc="0" normalizeH="0" baseline="0" noProof="0" err="1">
                <a:ln>
                  <a:noFill/>
                </a:ln>
                <a:solidFill>
                  <a:prstClr val="black">
                    <a:lumMod val="75000"/>
                    <a:lumOff val="25000"/>
                  </a:prstClr>
                </a:solidFill>
                <a:effectLst/>
                <a:uLnTx/>
                <a:uFillTx/>
                <a:latin typeface="Ubuntu"/>
                <a:ea typeface="+mn-ea"/>
                <a:cs typeface="+mn-cs"/>
              </a:rPr>
              <a:t>vailable</a:t>
            </a:r>
            <a:r>
              <a:rPr kumimoji="0" lang="en-SE" sz="800" b="0" i="0" u="none" strike="noStrike" kern="1200" cap="none" spc="0" normalizeH="0" baseline="0" noProof="0">
                <a:ln>
                  <a:noFill/>
                </a:ln>
                <a:solidFill>
                  <a:prstClr val="black">
                    <a:lumMod val="75000"/>
                    <a:lumOff val="25000"/>
                  </a:prstClr>
                </a:solidFill>
                <a:effectLst/>
                <a:uLnTx/>
                <a:uFillTx/>
                <a:latin typeface="Ubuntu"/>
                <a:ea typeface="+mn-ea"/>
                <a:cs typeface="+mn-cs"/>
              </a:rPr>
              <a:t> on all Core SaaS applications</a:t>
            </a:r>
            <a:endParaRPr kumimoji="0" lang="en-US" sz="800" b="0" i="0" u="none" strike="noStrike" kern="1200" cap="none" spc="0" normalizeH="0" baseline="0" noProof="0" err="1">
              <a:ln>
                <a:noFill/>
              </a:ln>
              <a:solidFill>
                <a:prstClr val="black">
                  <a:lumMod val="75000"/>
                  <a:lumOff val="25000"/>
                </a:prstClr>
              </a:solidFill>
              <a:effectLst/>
              <a:uLnTx/>
              <a:uFillTx/>
              <a:latin typeface="Ubuntu"/>
              <a:ea typeface="+mn-ea"/>
              <a:cs typeface="+mn-cs"/>
            </a:endParaRPr>
          </a:p>
        </p:txBody>
      </p:sp>
      <p:sp>
        <p:nvSpPr>
          <p:cNvPr id="28" name="Rectangle: Rounded Corners 27">
            <a:extLst>
              <a:ext uri="{FF2B5EF4-FFF2-40B4-BE49-F238E27FC236}">
                <a16:creationId xmlns:a16="http://schemas.microsoft.com/office/drawing/2014/main" id="{07FA214F-E96E-889C-014C-2F0CAA0D08E6}"/>
              </a:ext>
            </a:extLst>
          </p:cNvPr>
          <p:cNvSpPr/>
          <p:nvPr/>
        </p:nvSpPr>
        <p:spPr>
          <a:xfrm>
            <a:off x="5837619" y="1347098"/>
            <a:ext cx="3034314" cy="931902"/>
          </a:xfrm>
          <a:prstGeom prst="round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1" i="0" u="none" strike="noStrike" kern="1200" cap="none" spc="0" normalizeH="0" baseline="0" noProof="0">
                <a:ln>
                  <a:noFill/>
                </a:ln>
                <a:solidFill>
                  <a:srgbClr val="FFFFFF"/>
                </a:solidFill>
                <a:effectLst/>
                <a:uLnTx/>
                <a:uFillTx/>
                <a:latin typeface="Ubuntu"/>
                <a:ea typeface="+mn-ea"/>
                <a:cs typeface="+mn-cs"/>
              </a:rPr>
              <a:t>Config based UI </a:t>
            </a:r>
            <a:r>
              <a:rPr kumimoji="0" lang="en-SE" sz="800" b="1" i="0" u="none" strike="noStrike" kern="1200" cap="none" spc="0" normalizeH="0" baseline="0" noProof="0" err="1">
                <a:ln>
                  <a:noFill/>
                </a:ln>
                <a:solidFill>
                  <a:srgbClr val="FFFFFF"/>
                </a:solidFill>
                <a:effectLst/>
                <a:uLnTx/>
                <a:uFillTx/>
                <a:latin typeface="Ubuntu"/>
                <a:ea typeface="+mn-ea"/>
                <a:cs typeface="+mn-cs"/>
              </a:rPr>
              <a:t>GenAI</a:t>
            </a:r>
            <a:r>
              <a:rPr kumimoji="0" lang="en-SE" sz="800" b="1" i="0" u="none" strike="noStrike" kern="1200" cap="none" spc="0" normalizeH="0" baseline="0" noProof="0">
                <a:ln>
                  <a:noFill/>
                </a:ln>
                <a:solidFill>
                  <a:srgbClr val="FFFFFF"/>
                </a:solidFill>
                <a:effectLst/>
                <a:uLnTx/>
                <a:uFillTx/>
                <a:latin typeface="Ubuntu"/>
                <a:ea typeface="+mn-ea"/>
                <a:cs typeface="+mn-cs"/>
              </a:rPr>
              <a:t> Bot </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Stan</a:t>
            </a:r>
            <a:r>
              <a:rPr kumimoji="0" lang="en-US" sz="800" b="0" i="0" u="none" strike="noStrike" kern="1200" cap="none" spc="0" normalizeH="0" baseline="0" noProof="0">
                <a:ln>
                  <a:noFill/>
                </a:ln>
                <a:solidFill>
                  <a:srgbClr val="FFFFFF"/>
                </a:solidFill>
                <a:effectLst/>
                <a:uLnTx/>
                <a:uFillTx/>
                <a:latin typeface="Ubuntu"/>
                <a:ea typeface="+mn-ea"/>
                <a:cs typeface="+mn-cs"/>
              </a:rPr>
              <a:t>d</a:t>
            </a:r>
            <a:r>
              <a:rPr kumimoji="0" lang="en-SE" sz="800" b="0" i="0" u="none" strike="noStrike" kern="1200" cap="none" spc="0" normalizeH="0" baseline="0" noProof="0" err="1">
                <a:ln>
                  <a:noFill/>
                </a:ln>
                <a:solidFill>
                  <a:srgbClr val="FFFFFF"/>
                </a:solidFill>
                <a:effectLst/>
                <a:uLnTx/>
                <a:uFillTx/>
                <a:latin typeface="Ubuntu"/>
                <a:ea typeface="+mn-ea"/>
                <a:cs typeface="+mn-cs"/>
              </a:rPr>
              <a:t>ard</a:t>
            </a:r>
            <a:r>
              <a:rPr kumimoji="0" lang="en-SE" sz="800" b="0" i="0" u="none" strike="noStrike" kern="1200" cap="none" spc="0" normalizeH="0" baseline="0" noProof="0">
                <a:ln>
                  <a:noFill/>
                </a:ln>
                <a:solidFill>
                  <a:srgbClr val="FFFFFF"/>
                </a:solidFill>
                <a:effectLst/>
                <a:uLnTx/>
                <a:uFillTx/>
                <a:latin typeface="Ubuntu"/>
                <a:ea typeface="+mn-ea"/>
                <a:cs typeface="+mn-cs"/>
              </a:rPr>
              <a:t> + Custom Actions</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Test using: </a:t>
            </a:r>
            <a:r>
              <a:rPr kumimoji="0" lang="en-SE" sz="800" b="1" i="0" u="none" strike="noStrike" kern="1200" cap="none" spc="0" normalizeH="0" baseline="0" noProof="0">
                <a:ln>
                  <a:noFill/>
                </a:ln>
                <a:solidFill>
                  <a:srgbClr val="FFFFFF"/>
                </a:solidFill>
                <a:effectLst/>
                <a:uLnTx/>
                <a:uFillTx/>
                <a:latin typeface="Ubuntu"/>
                <a:ea typeface="+mn-ea"/>
                <a:cs typeface="+mn-cs"/>
              </a:rPr>
              <a:t>Action Simulator</a:t>
            </a:r>
            <a:endParaRPr kumimoji="0" lang="en-US" sz="800" b="1" i="0" u="none" strike="noStrike" kern="1200" cap="none" spc="0" normalizeH="0" baseline="0" noProof="0" err="1">
              <a:ln>
                <a:noFill/>
              </a:ln>
              <a:solidFill>
                <a:srgbClr val="FFFFFF"/>
              </a:solidFill>
              <a:effectLst/>
              <a:uLnTx/>
              <a:uFillTx/>
              <a:latin typeface="Ubuntu"/>
              <a:ea typeface="+mn-ea"/>
              <a:cs typeface="+mn-cs"/>
            </a:endParaRPr>
          </a:p>
        </p:txBody>
      </p:sp>
      <p:sp>
        <p:nvSpPr>
          <p:cNvPr id="32" name="Rectangle: Rounded Corners 31">
            <a:extLst>
              <a:ext uri="{FF2B5EF4-FFF2-40B4-BE49-F238E27FC236}">
                <a16:creationId xmlns:a16="http://schemas.microsoft.com/office/drawing/2014/main" id="{70AFBAE8-8146-F697-AF7D-546E39385334}"/>
              </a:ext>
            </a:extLst>
          </p:cNvPr>
          <p:cNvSpPr/>
          <p:nvPr/>
        </p:nvSpPr>
        <p:spPr>
          <a:xfrm>
            <a:off x="2021741" y="2313007"/>
            <a:ext cx="3760670" cy="91234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1" i="0" u="none" strike="noStrike" kern="1200" cap="none" spc="0" normalizeH="0" baseline="0" noProof="0">
                <a:ln>
                  <a:noFill/>
                </a:ln>
                <a:solidFill>
                  <a:prstClr val="black">
                    <a:lumMod val="75000"/>
                    <a:lumOff val="25000"/>
                  </a:prstClr>
                </a:solidFill>
                <a:effectLst/>
                <a:uLnTx/>
                <a:uFillTx/>
                <a:latin typeface="Ubuntu"/>
                <a:ea typeface="+mn-ea"/>
                <a:cs typeface="+mn-cs"/>
              </a:rPr>
              <a:t>Invoking </a:t>
            </a:r>
            <a:r>
              <a:rPr kumimoji="0" lang="en-SE" sz="800" b="1" i="0" u="none" strike="noStrike" kern="1200" cap="none" spc="0" normalizeH="0" baseline="0" noProof="0" err="1">
                <a:ln>
                  <a:noFill/>
                </a:ln>
                <a:solidFill>
                  <a:prstClr val="black">
                    <a:lumMod val="75000"/>
                    <a:lumOff val="25000"/>
                  </a:prstClr>
                </a:solidFill>
                <a:effectLst/>
                <a:uLnTx/>
                <a:uFillTx/>
                <a:latin typeface="Ubuntu"/>
                <a:ea typeface="+mn-ea"/>
                <a:cs typeface="+mn-cs"/>
              </a:rPr>
              <a:t>GenAI</a:t>
            </a:r>
            <a:r>
              <a:rPr kumimoji="0" lang="en-SE" sz="800" b="1" i="0" u="none" strike="noStrike" kern="1200" cap="none" spc="0" normalizeH="0" baseline="0" noProof="0">
                <a:ln>
                  <a:noFill/>
                </a:ln>
                <a:solidFill>
                  <a:prstClr val="black">
                    <a:lumMod val="75000"/>
                    <a:lumOff val="25000"/>
                  </a:prstClr>
                </a:solidFill>
                <a:effectLst/>
                <a:uLnTx/>
                <a:uFillTx/>
                <a:latin typeface="Ubuntu"/>
                <a:ea typeface="+mn-ea"/>
                <a:cs typeface="+mn-cs"/>
              </a:rPr>
              <a:t> from the Platform </a:t>
            </a:r>
          </a:p>
          <a:p>
            <a:pPr marL="171450" marR="0" lvl="0" indent="-171450" algn="ctr"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SE" sz="800" b="0" i="0" u="none" strike="noStrike" kern="1200" cap="none" spc="0" normalizeH="0" baseline="0" noProof="0">
                <a:ln>
                  <a:noFill/>
                </a:ln>
                <a:solidFill>
                  <a:prstClr val="black">
                    <a:lumMod val="75000"/>
                    <a:lumOff val="25000"/>
                  </a:prstClr>
                </a:solidFill>
                <a:effectLst/>
                <a:uLnTx/>
                <a:uFillTx/>
                <a:latin typeface="Ubuntu"/>
                <a:ea typeface="+mn-ea"/>
                <a:cs typeface="+mn-cs"/>
              </a:rPr>
              <a:t>Invoke templated Prompts from anywhere in the Org</a:t>
            </a:r>
          </a:p>
          <a:p>
            <a:pPr marL="171450" marR="0" lvl="0" indent="-171450" algn="ctr"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SE" sz="800" b="0" i="0" u="none" strike="noStrike" kern="1200" cap="none" spc="0" normalizeH="0" baseline="0" noProof="0">
                <a:ln>
                  <a:noFill/>
                </a:ln>
                <a:solidFill>
                  <a:prstClr val="black">
                    <a:lumMod val="75000"/>
                    <a:lumOff val="25000"/>
                  </a:prstClr>
                </a:solidFill>
                <a:effectLst/>
                <a:uLnTx/>
                <a:uFillTx/>
                <a:latin typeface="Ubuntu"/>
                <a:ea typeface="+mn-ea"/>
                <a:cs typeface="+mn-cs"/>
              </a:rPr>
              <a:t>Increases TTM in implementing </a:t>
            </a:r>
            <a:r>
              <a:rPr kumimoji="0" lang="en-SE" sz="800" b="0" i="0" u="none" strike="noStrike" kern="1200" cap="none" spc="0" normalizeH="0" baseline="0" noProof="0" err="1">
                <a:ln>
                  <a:noFill/>
                </a:ln>
                <a:solidFill>
                  <a:prstClr val="black">
                    <a:lumMod val="75000"/>
                    <a:lumOff val="25000"/>
                  </a:prstClr>
                </a:solidFill>
                <a:effectLst/>
                <a:uLnTx/>
                <a:uFillTx/>
                <a:latin typeface="Ubuntu"/>
                <a:ea typeface="+mn-ea"/>
                <a:cs typeface="+mn-cs"/>
              </a:rPr>
              <a:t>GenAI</a:t>
            </a:r>
            <a:r>
              <a:rPr kumimoji="0" lang="en-SE" sz="800" b="0" i="0" u="none" strike="noStrike" kern="1200" cap="none" spc="0" normalizeH="0" baseline="0" noProof="0">
                <a:ln>
                  <a:noFill/>
                </a:ln>
                <a:solidFill>
                  <a:prstClr val="black">
                    <a:lumMod val="75000"/>
                    <a:lumOff val="25000"/>
                  </a:prstClr>
                </a:solidFill>
                <a:effectLst/>
                <a:uLnTx/>
                <a:uFillTx/>
                <a:latin typeface="Ubuntu"/>
                <a:ea typeface="+mn-ea"/>
                <a:cs typeface="+mn-cs"/>
              </a:rPr>
              <a:t> (no APIs to call) and reliability by preparing and simulating the prompts used against the LLM</a:t>
            </a:r>
            <a:endParaRPr kumimoji="0" lang="en-US" sz="800" b="0" i="0" u="none" strike="noStrike" kern="1200" cap="none" spc="0" normalizeH="0" baseline="0" noProof="0" err="1">
              <a:ln>
                <a:noFill/>
              </a:ln>
              <a:solidFill>
                <a:prstClr val="black">
                  <a:lumMod val="75000"/>
                  <a:lumOff val="25000"/>
                </a:prstClr>
              </a:solidFill>
              <a:effectLst/>
              <a:uLnTx/>
              <a:uFillTx/>
              <a:latin typeface="Ubuntu"/>
              <a:ea typeface="+mn-ea"/>
              <a:cs typeface="+mn-cs"/>
            </a:endParaRPr>
          </a:p>
        </p:txBody>
      </p:sp>
      <p:sp>
        <p:nvSpPr>
          <p:cNvPr id="33" name="Rectangle: Rounded Corners 32">
            <a:extLst>
              <a:ext uri="{FF2B5EF4-FFF2-40B4-BE49-F238E27FC236}">
                <a16:creationId xmlns:a16="http://schemas.microsoft.com/office/drawing/2014/main" id="{DBE98D96-9ADA-22FC-F234-AFDA28C463C3}"/>
              </a:ext>
            </a:extLst>
          </p:cNvPr>
          <p:cNvSpPr/>
          <p:nvPr/>
        </p:nvSpPr>
        <p:spPr>
          <a:xfrm>
            <a:off x="2022453" y="3256053"/>
            <a:ext cx="3760670" cy="90772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1" i="0" u="none" strike="noStrike" kern="1200" cap="none" spc="0" normalizeH="0" baseline="0" noProof="0">
                <a:ln>
                  <a:noFill/>
                </a:ln>
                <a:solidFill>
                  <a:prstClr val="black">
                    <a:lumMod val="75000"/>
                    <a:lumOff val="25000"/>
                  </a:prstClr>
                </a:solidFill>
                <a:effectLst/>
                <a:uLnTx/>
                <a:uFillTx/>
                <a:latin typeface="Ubuntu"/>
                <a:ea typeface="+mn-ea"/>
                <a:cs typeface="+mn-cs"/>
              </a:rPr>
              <a:t>Choosing a Model to Invoke</a:t>
            </a:r>
          </a:p>
          <a:p>
            <a:pPr marL="171450" marR="0" lvl="0" indent="-171450" algn="ctr"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SE" sz="800" b="0" i="0" u="none" strike="noStrike" kern="1200" cap="none" spc="0" normalizeH="0" baseline="0" noProof="0">
                <a:ln>
                  <a:noFill/>
                </a:ln>
                <a:solidFill>
                  <a:prstClr val="black">
                    <a:lumMod val="75000"/>
                    <a:lumOff val="25000"/>
                  </a:prstClr>
                </a:solidFill>
                <a:effectLst/>
                <a:uLnTx/>
                <a:uFillTx/>
                <a:latin typeface="Ubuntu"/>
                <a:ea typeface="+mn-ea"/>
                <a:cs typeface="+mn-cs"/>
              </a:rPr>
              <a:t>BYOM</a:t>
            </a:r>
            <a:br>
              <a:rPr kumimoji="0" lang="en-SE" sz="800" b="0" i="0" u="none" strike="noStrike" kern="1200" cap="none" spc="0" normalizeH="0" baseline="0" noProof="0">
                <a:ln>
                  <a:noFill/>
                </a:ln>
                <a:solidFill>
                  <a:prstClr val="black">
                    <a:lumMod val="75000"/>
                    <a:lumOff val="25000"/>
                  </a:prstClr>
                </a:solidFill>
                <a:effectLst/>
                <a:uLnTx/>
                <a:uFillTx/>
                <a:latin typeface="Ubuntu"/>
                <a:ea typeface="+mn-ea"/>
                <a:cs typeface="+mn-cs"/>
              </a:rPr>
            </a:br>
            <a:r>
              <a:rPr kumimoji="0" lang="en-SE" sz="800" b="0" i="0" u="none" strike="noStrike" kern="1200" cap="none" spc="0" normalizeH="0" baseline="0" noProof="0">
                <a:ln>
                  <a:noFill/>
                </a:ln>
                <a:solidFill>
                  <a:prstClr val="black">
                    <a:lumMod val="75000"/>
                    <a:lumOff val="25000"/>
                  </a:prstClr>
                </a:solidFill>
                <a:effectLst/>
                <a:uLnTx/>
                <a:uFillTx/>
                <a:latin typeface="Ubuntu"/>
                <a:ea typeface="+mn-ea"/>
                <a:cs typeface="+mn-cs"/>
              </a:rPr>
              <a:t>- Customer chooses a standard industry model, or for enterprise specific privacy issues an internal LLM to power their </a:t>
            </a:r>
            <a:r>
              <a:rPr kumimoji="0" lang="en-SE" sz="800" b="0" i="0" u="none" strike="noStrike" kern="1200" cap="none" spc="0" normalizeH="0" baseline="0" noProof="0" err="1">
                <a:ln>
                  <a:noFill/>
                </a:ln>
                <a:solidFill>
                  <a:prstClr val="black">
                    <a:lumMod val="75000"/>
                    <a:lumOff val="25000"/>
                  </a:prstClr>
                </a:solidFill>
                <a:effectLst/>
                <a:uLnTx/>
                <a:uFillTx/>
                <a:latin typeface="Ubuntu"/>
                <a:ea typeface="+mn-ea"/>
                <a:cs typeface="+mn-cs"/>
              </a:rPr>
              <a:t>GenAI</a:t>
            </a:r>
            <a:r>
              <a:rPr kumimoji="0" lang="en-SE" sz="800" b="0" i="0" u="none" strike="noStrike" kern="1200" cap="none" spc="0" normalizeH="0" baseline="0" noProof="0">
                <a:ln>
                  <a:noFill/>
                </a:ln>
                <a:solidFill>
                  <a:prstClr val="black">
                    <a:lumMod val="75000"/>
                    <a:lumOff val="25000"/>
                  </a:prstClr>
                </a:solidFill>
                <a:effectLst/>
                <a:uLnTx/>
                <a:uFillTx/>
                <a:latin typeface="Ubuntu"/>
                <a:ea typeface="+mn-ea"/>
                <a:cs typeface="+mn-cs"/>
              </a:rPr>
              <a:t> solution</a:t>
            </a:r>
          </a:p>
        </p:txBody>
      </p:sp>
      <p:sp>
        <p:nvSpPr>
          <p:cNvPr id="34" name="Rectangle: Rounded Corners 33">
            <a:extLst>
              <a:ext uri="{FF2B5EF4-FFF2-40B4-BE49-F238E27FC236}">
                <a16:creationId xmlns:a16="http://schemas.microsoft.com/office/drawing/2014/main" id="{B332AAB6-D3D6-F5F7-8163-70E833DE7885}"/>
              </a:ext>
            </a:extLst>
          </p:cNvPr>
          <p:cNvSpPr/>
          <p:nvPr/>
        </p:nvSpPr>
        <p:spPr>
          <a:xfrm>
            <a:off x="5838960" y="3256053"/>
            <a:ext cx="3032177" cy="907724"/>
          </a:xfrm>
          <a:prstGeom prst="round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1" i="0" u="none" strike="noStrike" kern="1200" cap="none" spc="0" normalizeH="0" baseline="0" noProof="0">
                <a:ln>
                  <a:noFill/>
                </a:ln>
                <a:solidFill>
                  <a:srgbClr val="FFFFFF"/>
                </a:solidFill>
                <a:effectLst/>
                <a:uLnTx/>
                <a:uFillTx/>
                <a:latin typeface="Ubuntu"/>
                <a:ea typeface="+mn-ea"/>
                <a:cs typeface="+mn-cs"/>
              </a:rPr>
              <a:t>Utilisation and grounding of LLMs provided by different sources and private LLMs</a:t>
            </a:r>
          </a:p>
          <a:p>
            <a:pPr marL="171450" marR="0" lvl="0" indent="-171450" algn="ctr"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Existing APIs for commercial “Standard” LLMs</a:t>
            </a:r>
          </a:p>
          <a:p>
            <a:pPr marL="171450" marR="0" lvl="0" indent="-171450" algn="ctr"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Open Source Models + Private LLM’s</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End User Test using </a:t>
            </a:r>
            <a:r>
              <a:rPr kumimoji="0" lang="en-SE" sz="800" b="1" i="0" u="none" strike="noStrike" kern="1200" cap="none" spc="0" normalizeH="0" baseline="0" noProof="0">
                <a:ln>
                  <a:noFill/>
                </a:ln>
                <a:solidFill>
                  <a:srgbClr val="FFFFFF"/>
                </a:solidFill>
                <a:effectLst/>
                <a:uLnTx/>
                <a:uFillTx/>
                <a:latin typeface="Ubuntu"/>
                <a:ea typeface="+mn-ea"/>
                <a:cs typeface="+mn-cs"/>
              </a:rPr>
              <a:t>Prompt Simulator</a:t>
            </a:r>
            <a:endParaRPr kumimoji="0" lang="en-US" sz="800" b="0" i="0" u="none" strike="noStrike" kern="1200" cap="none" spc="0" normalizeH="0" baseline="0" noProof="0" err="1">
              <a:ln>
                <a:noFill/>
              </a:ln>
              <a:solidFill>
                <a:srgbClr val="FFFFFF"/>
              </a:solidFill>
              <a:effectLst/>
              <a:uLnTx/>
              <a:uFillTx/>
              <a:latin typeface="Ubuntu"/>
              <a:ea typeface="+mn-ea"/>
              <a:cs typeface="+mn-cs"/>
            </a:endParaRPr>
          </a:p>
        </p:txBody>
      </p:sp>
      <p:sp>
        <p:nvSpPr>
          <p:cNvPr id="42" name="Rectangle: Rounded Corners 41">
            <a:extLst>
              <a:ext uri="{FF2B5EF4-FFF2-40B4-BE49-F238E27FC236}">
                <a16:creationId xmlns:a16="http://schemas.microsoft.com/office/drawing/2014/main" id="{1EC38FB2-3ACB-6B3D-BC84-DBE2FC8CD9B3}"/>
              </a:ext>
            </a:extLst>
          </p:cNvPr>
          <p:cNvSpPr/>
          <p:nvPr/>
        </p:nvSpPr>
        <p:spPr>
          <a:xfrm>
            <a:off x="8926975" y="1347098"/>
            <a:ext cx="3064319" cy="906228"/>
          </a:xfrm>
          <a:prstGeom prst="round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1" i="0" u="none" strike="noStrike" kern="1200" cap="none" spc="0" normalizeH="0" baseline="0" noProof="0">
                <a:ln>
                  <a:noFill/>
                </a:ln>
                <a:solidFill>
                  <a:srgbClr val="FFFFFF"/>
                </a:solidFill>
                <a:effectLst/>
                <a:uLnTx/>
                <a:uFillTx/>
                <a:latin typeface="Ubuntu"/>
                <a:ea typeface="+mn-ea"/>
                <a:cs typeface="+mn-cs"/>
              </a:rPr>
              <a:t>CoPilot can execute Actions that execute and provide content to</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Apex, Flow, </a:t>
            </a:r>
            <a:r>
              <a:rPr kumimoji="0" lang="en-SE" sz="800" b="0" i="0" u="none" strike="noStrike" kern="1200" cap="none" spc="0" normalizeH="0" baseline="0" noProof="0" err="1">
                <a:ln>
                  <a:noFill/>
                </a:ln>
                <a:solidFill>
                  <a:srgbClr val="FFFFFF"/>
                </a:solidFill>
                <a:effectLst/>
                <a:uLnTx/>
                <a:uFillTx/>
                <a:latin typeface="Ubuntu"/>
                <a:ea typeface="+mn-ea"/>
                <a:cs typeface="+mn-cs"/>
              </a:rPr>
              <a:t>Mulseoft</a:t>
            </a:r>
            <a:r>
              <a:rPr kumimoji="0" lang="en-SE" sz="800" b="0" i="0" u="none" strike="noStrike" kern="1200" cap="none" spc="0" normalizeH="0" baseline="0" noProof="0">
                <a:ln>
                  <a:noFill/>
                </a:ln>
                <a:solidFill>
                  <a:srgbClr val="FFFFFF"/>
                </a:solidFill>
                <a:effectLst/>
                <a:uLnTx/>
                <a:uFillTx/>
                <a:latin typeface="Ubuntu"/>
                <a:ea typeface="+mn-ea"/>
                <a:cs typeface="+mn-cs"/>
              </a:rPr>
              <a:t> APIs</a:t>
            </a:r>
          </a:p>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SE" sz="800" b="0" i="0" u="none" strike="noStrike" kern="1200" cap="none" spc="0" normalizeH="0" baseline="0" noProof="0">
              <a:ln>
                <a:noFill/>
              </a:ln>
              <a:solidFill>
                <a:srgbClr val="FFFFFF"/>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1" i="0" u="none" strike="noStrike" kern="1200" cap="none" spc="0" normalizeH="0" baseline="0" noProof="0">
                <a:ln>
                  <a:noFill/>
                </a:ln>
                <a:solidFill>
                  <a:srgbClr val="FFFFFF"/>
                </a:solidFill>
                <a:effectLst/>
                <a:uLnTx/>
                <a:uFillTx/>
                <a:latin typeface="Ubuntu"/>
                <a:ea typeface="+mn-ea"/>
                <a:cs typeface="+mn-cs"/>
              </a:rPr>
              <a:t>Powered by Prompt B</a:t>
            </a:r>
            <a:r>
              <a:rPr kumimoji="0" lang="en-US" sz="800" b="1" i="0" u="none" strike="noStrike" kern="1200" cap="none" spc="0" normalizeH="0" baseline="0" noProof="0">
                <a:ln>
                  <a:noFill/>
                </a:ln>
                <a:solidFill>
                  <a:srgbClr val="FFFFFF"/>
                </a:solidFill>
                <a:effectLst/>
                <a:uLnTx/>
                <a:uFillTx/>
                <a:latin typeface="Ubuntu"/>
                <a:ea typeface="+mn-ea"/>
                <a:cs typeface="+mn-cs"/>
              </a:rPr>
              <a:t>u</a:t>
            </a:r>
            <a:r>
              <a:rPr kumimoji="0" lang="en-SE" sz="800" b="1" i="0" u="none" strike="noStrike" kern="1200" cap="none" spc="0" normalizeH="0" baseline="0" noProof="0" err="1">
                <a:ln>
                  <a:noFill/>
                </a:ln>
                <a:solidFill>
                  <a:srgbClr val="FFFFFF"/>
                </a:solidFill>
                <a:effectLst/>
                <a:uLnTx/>
                <a:uFillTx/>
                <a:latin typeface="Ubuntu"/>
                <a:ea typeface="+mn-ea"/>
                <a:cs typeface="+mn-cs"/>
              </a:rPr>
              <a:t>ilder</a:t>
            </a:r>
            <a:r>
              <a:rPr kumimoji="0" lang="en-SE" sz="800" b="1" i="0" u="none" strike="noStrike" kern="1200" cap="none" spc="0" normalizeH="0" baseline="0" noProof="0">
                <a:ln>
                  <a:noFill/>
                </a:ln>
                <a:solidFill>
                  <a:srgbClr val="FFFFFF"/>
                </a:solidFill>
                <a:effectLst/>
                <a:uLnTx/>
                <a:uFillTx/>
                <a:latin typeface="Ubuntu"/>
                <a:ea typeface="+mn-ea"/>
                <a:cs typeface="+mn-cs"/>
              </a:rPr>
              <a:t> and Model Builder (LLM)</a:t>
            </a:r>
          </a:p>
        </p:txBody>
      </p:sp>
      <p:sp>
        <p:nvSpPr>
          <p:cNvPr id="54" name="Rectangle: Rounded Corners 53">
            <a:extLst>
              <a:ext uri="{FF2B5EF4-FFF2-40B4-BE49-F238E27FC236}">
                <a16:creationId xmlns:a16="http://schemas.microsoft.com/office/drawing/2014/main" id="{180F452B-AF94-9517-7E45-ADD30EFFB2E9}"/>
              </a:ext>
            </a:extLst>
          </p:cNvPr>
          <p:cNvSpPr/>
          <p:nvPr/>
        </p:nvSpPr>
        <p:spPr>
          <a:xfrm>
            <a:off x="8926975" y="2302838"/>
            <a:ext cx="3064319" cy="916396"/>
          </a:xfrm>
          <a:prstGeom prst="round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1" i="0" u="none" strike="noStrike" kern="1200" cap="none" spc="0" normalizeH="0" baseline="0" noProof="0">
                <a:ln>
                  <a:noFill/>
                </a:ln>
                <a:solidFill>
                  <a:srgbClr val="FFFFFF"/>
                </a:solidFill>
                <a:effectLst/>
                <a:uLnTx/>
                <a:uFillTx/>
                <a:latin typeface="Ubuntu"/>
                <a:ea typeface="+mn-ea"/>
                <a:cs typeface="+mn-cs"/>
              </a:rPr>
              <a:t>Called from Platform , Config and UX Layers</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Apex &amp; LWC, Flow,  Config (Custom Buttons)</a:t>
            </a:r>
          </a:p>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SE" sz="800" b="0" i="0" u="none" strike="noStrike" kern="1200" cap="none" spc="0" normalizeH="0" baseline="0" noProof="0">
              <a:ln>
                <a:noFill/>
              </a:ln>
              <a:solidFill>
                <a:srgbClr val="FFFFFF"/>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1" i="0" u="none" strike="noStrike" kern="1200" cap="none" spc="0" normalizeH="0" baseline="0" noProof="0">
                <a:ln>
                  <a:noFill/>
                </a:ln>
                <a:solidFill>
                  <a:srgbClr val="FFFFFF"/>
                </a:solidFill>
                <a:effectLst/>
                <a:uLnTx/>
                <a:uFillTx/>
                <a:latin typeface="Ubuntu"/>
                <a:ea typeface="+mn-ea"/>
                <a:cs typeface="+mn-cs"/>
              </a:rPr>
              <a:t>Powered by Model Builder </a:t>
            </a:r>
          </a:p>
        </p:txBody>
      </p:sp>
      <p:sp>
        <p:nvSpPr>
          <p:cNvPr id="56" name="Rectangle: Rounded Corners 55">
            <a:extLst>
              <a:ext uri="{FF2B5EF4-FFF2-40B4-BE49-F238E27FC236}">
                <a16:creationId xmlns:a16="http://schemas.microsoft.com/office/drawing/2014/main" id="{04E7AE4C-62F9-DC93-4492-E14873AE2EE5}"/>
              </a:ext>
            </a:extLst>
          </p:cNvPr>
          <p:cNvSpPr/>
          <p:nvPr/>
        </p:nvSpPr>
        <p:spPr>
          <a:xfrm>
            <a:off x="5837536" y="2313007"/>
            <a:ext cx="3034314" cy="916396"/>
          </a:xfrm>
          <a:prstGeom prst="round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1" i="0" u="none" strike="noStrike" kern="1200" cap="none" spc="0" normalizeH="0" baseline="0" noProof="0">
                <a:ln>
                  <a:noFill/>
                </a:ln>
                <a:solidFill>
                  <a:srgbClr val="FFFFFF"/>
                </a:solidFill>
                <a:effectLst/>
                <a:uLnTx/>
                <a:uFillTx/>
                <a:latin typeface="Ubuntu"/>
                <a:ea typeface="+mn-ea"/>
                <a:cs typeface="+mn-cs"/>
              </a:rPr>
              <a:t>Powers and secures the </a:t>
            </a:r>
            <a:r>
              <a:rPr kumimoji="0" lang="en-SE" sz="800" b="1" i="0" u="none" strike="noStrike" kern="1200" cap="none" spc="0" normalizeH="0" baseline="0" noProof="0" err="1">
                <a:ln>
                  <a:noFill/>
                </a:ln>
                <a:solidFill>
                  <a:srgbClr val="FFFFFF"/>
                </a:solidFill>
                <a:effectLst/>
                <a:uLnTx/>
                <a:uFillTx/>
                <a:latin typeface="Ubuntu"/>
                <a:ea typeface="+mn-ea"/>
                <a:cs typeface="+mn-cs"/>
              </a:rPr>
              <a:t>GenAI’s</a:t>
            </a:r>
            <a:r>
              <a:rPr kumimoji="0" lang="en-SE" sz="800" b="1" i="0" u="none" strike="noStrike" kern="1200" cap="none" spc="0" normalizeH="0" baseline="0" noProof="0">
                <a:ln>
                  <a:noFill/>
                </a:ln>
                <a:solidFill>
                  <a:srgbClr val="FFFFFF"/>
                </a:solidFill>
                <a:effectLst/>
                <a:uLnTx/>
                <a:uFillTx/>
                <a:latin typeface="Ubuntu"/>
                <a:ea typeface="+mn-ea"/>
                <a:cs typeface="+mn-cs"/>
              </a:rPr>
              <a:t> LLM responses:</a:t>
            </a:r>
          </a:p>
          <a:p>
            <a:pPr marL="171450" marR="0" lvl="0" indent="-171450" algn="ctr"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Custom + Standard Prompts</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Test using: </a:t>
            </a:r>
            <a:r>
              <a:rPr kumimoji="0" lang="en-SE" sz="800" b="1" i="0" u="none" strike="noStrike" kern="1200" cap="none" spc="0" normalizeH="0" baseline="0" noProof="0">
                <a:ln>
                  <a:noFill/>
                </a:ln>
                <a:solidFill>
                  <a:srgbClr val="FFFFFF"/>
                </a:solidFill>
                <a:effectLst/>
                <a:uLnTx/>
                <a:uFillTx/>
                <a:latin typeface="Ubuntu"/>
                <a:ea typeface="+mn-ea"/>
                <a:cs typeface="+mn-cs"/>
              </a:rPr>
              <a:t>Prompt Simulator</a:t>
            </a:r>
            <a:endParaRPr kumimoji="0" lang="en-US" sz="800" b="1" i="0" u="none" strike="noStrike" kern="1200" cap="none" spc="0" normalizeH="0" baseline="0" noProof="0" err="1">
              <a:ln>
                <a:noFill/>
              </a:ln>
              <a:solidFill>
                <a:srgbClr val="FFFFFF"/>
              </a:solidFill>
              <a:effectLst/>
              <a:uLnTx/>
              <a:uFillTx/>
              <a:latin typeface="Ubuntu"/>
              <a:ea typeface="+mn-ea"/>
              <a:cs typeface="+mn-cs"/>
            </a:endParaRPr>
          </a:p>
        </p:txBody>
      </p:sp>
      <p:sp>
        <p:nvSpPr>
          <p:cNvPr id="59" name="Rectangle: Rounded Corners 58">
            <a:extLst>
              <a:ext uri="{FF2B5EF4-FFF2-40B4-BE49-F238E27FC236}">
                <a16:creationId xmlns:a16="http://schemas.microsoft.com/office/drawing/2014/main" id="{83B32BCE-7C50-282F-A541-E19B084DB6EB}"/>
              </a:ext>
            </a:extLst>
          </p:cNvPr>
          <p:cNvSpPr/>
          <p:nvPr/>
        </p:nvSpPr>
        <p:spPr>
          <a:xfrm>
            <a:off x="8926975" y="3256053"/>
            <a:ext cx="3064319" cy="906228"/>
          </a:xfrm>
          <a:prstGeom prst="round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1" i="0" u="none" strike="noStrike" kern="1200" cap="none" spc="0" normalizeH="0" baseline="0" noProof="0">
                <a:ln>
                  <a:noFill/>
                </a:ln>
                <a:solidFill>
                  <a:srgbClr val="FFFFFF"/>
                </a:solidFill>
                <a:effectLst/>
                <a:uLnTx/>
                <a:uFillTx/>
                <a:latin typeface="Ubuntu"/>
                <a:ea typeface="+mn-ea"/>
                <a:cs typeface="+mn-cs"/>
              </a:rPr>
              <a:t>Powered by API</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Existing APIs</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Open Source Models + Custom LLM’s custom APIs (consider </a:t>
            </a:r>
            <a:r>
              <a:rPr kumimoji="0" lang="en-SE" sz="800" b="0" i="0" u="none" strike="noStrike" kern="1200" cap="none" spc="0" normalizeH="0" baseline="0" noProof="0" err="1">
                <a:ln>
                  <a:noFill/>
                </a:ln>
                <a:solidFill>
                  <a:srgbClr val="FFFFFF"/>
                </a:solidFill>
                <a:effectLst/>
                <a:uLnTx/>
                <a:uFillTx/>
                <a:latin typeface="Ubuntu"/>
                <a:ea typeface="+mn-ea"/>
                <a:cs typeface="+mn-cs"/>
              </a:rPr>
              <a:t>Mulesoft</a:t>
            </a:r>
            <a:r>
              <a:rPr kumimoji="0" lang="en-SE" sz="800" b="0" i="0" u="none" strike="noStrike" kern="1200" cap="none" spc="0" normalizeH="0" baseline="0" noProof="0">
                <a:ln>
                  <a:noFill/>
                </a:ln>
                <a:solidFill>
                  <a:srgbClr val="FFFFFF"/>
                </a:solidFill>
                <a:effectLst/>
                <a:uLnTx/>
                <a:uFillTx/>
                <a:latin typeface="Ubuntu"/>
                <a:ea typeface="+mn-ea"/>
                <a:cs typeface="+mn-cs"/>
              </a:rPr>
              <a:t>)</a:t>
            </a:r>
          </a:p>
        </p:txBody>
      </p:sp>
      <p:grpSp>
        <p:nvGrpSpPr>
          <p:cNvPr id="1027" name="Group 1026">
            <a:extLst>
              <a:ext uri="{FF2B5EF4-FFF2-40B4-BE49-F238E27FC236}">
                <a16:creationId xmlns:a16="http://schemas.microsoft.com/office/drawing/2014/main" id="{92567142-EB4D-8670-B26A-5541FFDCD340}"/>
              </a:ext>
            </a:extLst>
          </p:cNvPr>
          <p:cNvGrpSpPr/>
          <p:nvPr/>
        </p:nvGrpSpPr>
        <p:grpSpPr>
          <a:xfrm>
            <a:off x="1105988" y="3117477"/>
            <a:ext cx="231007" cy="254383"/>
            <a:chOff x="1001213" y="3645619"/>
            <a:chExt cx="231007" cy="254383"/>
          </a:xfrm>
        </p:grpSpPr>
        <p:sp>
          <p:nvSpPr>
            <p:cNvPr id="62" name="Isosceles Triangle 61">
              <a:extLst>
                <a:ext uri="{FF2B5EF4-FFF2-40B4-BE49-F238E27FC236}">
                  <a16:creationId xmlns:a16="http://schemas.microsoft.com/office/drawing/2014/main" id="{3C8FD892-8637-FD50-8532-2677644A224A}"/>
                </a:ext>
              </a:extLst>
            </p:cNvPr>
            <p:cNvSpPr/>
            <p:nvPr/>
          </p:nvSpPr>
          <p:spPr>
            <a:xfrm>
              <a:off x="1001213" y="3645619"/>
              <a:ext cx="231007" cy="199144"/>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63" name="Isosceles Triangle 62">
              <a:extLst>
                <a:ext uri="{FF2B5EF4-FFF2-40B4-BE49-F238E27FC236}">
                  <a16:creationId xmlns:a16="http://schemas.microsoft.com/office/drawing/2014/main" id="{A4631101-7040-2968-C4F9-F464E2B37FAA}"/>
                </a:ext>
              </a:extLst>
            </p:cNvPr>
            <p:cNvSpPr/>
            <p:nvPr/>
          </p:nvSpPr>
          <p:spPr>
            <a:xfrm>
              <a:off x="1030402" y="3704180"/>
              <a:ext cx="172628" cy="148817"/>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024" name="Isosceles Triangle 1023">
              <a:extLst>
                <a:ext uri="{FF2B5EF4-FFF2-40B4-BE49-F238E27FC236}">
                  <a16:creationId xmlns:a16="http://schemas.microsoft.com/office/drawing/2014/main" id="{5CFD2DCD-68E7-AD1F-7180-F6BB73E18A06}"/>
                </a:ext>
              </a:extLst>
            </p:cNvPr>
            <p:cNvSpPr/>
            <p:nvPr/>
          </p:nvSpPr>
          <p:spPr>
            <a:xfrm>
              <a:off x="1049679" y="3763546"/>
              <a:ext cx="134074" cy="115581"/>
            </a:xfrm>
            <a:prstGeom prst="triangle">
              <a:avLst/>
            </a:prstGeom>
            <a:solidFill>
              <a:srgbClr val="C6E6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025" name="Isosceles Triangle 1024">
              <a:extLst>
                <a:ext uri="{FF2B5EF4-FFF2-40B4-BE49-F238E27FC236}">
                  <a16:creationId xmlns:a16="http://schemas.microsoft.com/office/drawing/2014/main" id="{14BC3FE5-95B8-2234-7FF0-C4855DDA8816}"/>
                </a:ext>
              </a:extLst>
            </p:cNvPr>
            <p:cNvSpPr/>
            <p:nvPr/>
          </p:nvSpPr>
          <p:spPr>
            <a:xfrm>
              <a:off x="1067235" y="3814690"/>
              <a:ext cx="98962" cy="85312"/>
            </a:xfrm>
            <a:prstGeom prst="triangle">
              <a:avLst/>
            </a:prstGeom>
            <a:solidFill>
              <a:srgbClr val="F0F9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grpSp>
      <p:grpSp>
        <p:nvGrpSpPr>
          <p:cNvPr id="1028" name="Group 1027">
            <a:extLst>
              <a:ext uri="{FF2B5EF4-FFF2-40B4-BE49-F238E27FC236}">
                <a16:creationId xmlns:a16="http://schemas.microsoft.com/office/drawing/2014/main" id="{2666F5D3-AA07-4C46-48BB-18D5E4730F52}"/>
              </a:ext>
            </a:extLst>
          </p:cNvPr>
          <p:cNvGrpSpPr/>
          <p:nvPr/>
        </p:nvGrpSpPr>
        <p:grpSpPr>
          <a:xfrm>
            <a:off x="1087280" y="2135063"/>
            <a:ext cx="231007" cy="254383"/>
            <a:chOff x="1001213" y="3645619"/>
            <a:chExt cx="231007" cy="254383"/>
          </a:xfrm>
        </p:grpSpPr>
        <p:sp>
          <p:nvSpPr>
            <p:cNvPr id="1029" name="Isosceles Triangle 1028">
              <a:extLst>
                <a:ext uri="{FF2B5EF4-FFF2-40B4-BE49-F238E27FC236}">
                  <a16:creationId xmlns:a16="http://schemas.microsoft.com/office/drawing/2014/main" id="{82AEA97C-E3D5-3AF7-3FB9-4F253D3A488F}"/>
                </a:ext>
              </a:extLst>
            </p:cNvPr>
            <p:cNvSpPr/>
            <p:nvPr/>
          </p:nvSpPr>
          <p:spPr>
            <a:xfrm>
              <a:off x="1001213" y="3645619"/>
              <a:ext cx="231007" cy="199144"/>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030" name="Isosceles Triangle 1029">
              <a:extLst>
                <a:ext uri="{FF2B5EF4-FFF2-40B4-BE49-F238E27FC236}">
                  <a16:creationId xmlns:a16="http://schemas.microsoft.com/office/drawing/2014/main" id="{B5299384-EA70-52EE-224B-9C547AF0AE37}"/>
                </a:ext>
              </a:extLst>
            </p:cNvPr>
            <p:cNvSpPr/>
            <p:nvPr/>
          </p:nvSpPr>
          <p:spPr>
            <a:xfrm>
              <a:off x="1030402" y="3704180"/>
              <a:ext cx="172628" cy="148817"/>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031" name="Isosceles Triangle 1030">
              <a:extLst>
                <a:ext uri="{FF2B5EF4-FFF2-40B4-BE49-F238E27FC236}">
                  <a16:creationId xmlns:a16="http://schemas.microsoft.com/office/drawing/2014/main" id="{2AAD4E49-C8CF-D005-A8E0-4B950F4B74C4}"/>
                </a:ext>
              </a:extLst>
            </p:cNvPr>
            <p:cNvSpPr/>
            <p:nvPr/>
          </p:nvSpPr>
          <p:spPr>
            <a:xfrm>
              <a:off x="1049679" y="3763546"/>
              <a:ext cx="134074" cy="115581"/>
            </a:xfrm>
            <a:prstGeom prst="triangle">
              <a:avLst/>
            </a:prstGeom>
            <a:solidFill>
              <a:srgbClr val="C6E6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032" name="Isosceles Triangle 1031">
              <a:extLst>
                <a:ext uri="{FF2B5EF4-FFF2-40B4-BE49-F238E27FC236}">
                  <a16:creationId xmlns:a16="http://schemas.microsoft.com/office/drawing/2014/main" id="{8F0CEA64-1F12-3DC7-FFB1-8EA05D2A04E0}"/>
                </a:ext>
              </a:extLst>
            </p:cNvPr>
            <p:cNvSpPr/>
            <p:nvPr/>
          </p:nvSpPr>
          <p:spPr>
            <a:xfrm>
              <a:off x="1067235" y="3814690"/>
              <a:ext cx="98962" cy="85312"/>
            </a:xfrm>
            <a:prstGeom prst="triangle">
              <a:avLst/>
            </a:prstGeom>
            <a:solidFill>
              <a:srgbClr val="F0F9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grpSp>
      <p:grpSp>
        <p:nvGrpSpPr>
          <p:cNvPr id="1033" name="Group 1032">
            <a:extLst>
              <a:ext uri="{FF2B5EF4-FFF2-40B4-BE49-F238E27FC236}">
                <a16:creationId xmlns:a16="http://schemas.microsoft.com/office/drawing/2014/main" id="{00620DF0-7AC8-C17E-7FB3-49C0A0573E6D}"/>
              </a:ext>
            </a:extLst>
          </p:cNvPr>
          <p:cNvGrpSpPr/>
          <p:nvPr/>
        </p:nvGrpSpPr>
        <p:grpSpPr>
          <a:xfrm>
            <a:off x="10376427" y="3156607"/>
            <a:ext cx="163880" cy="180463"/>
            <a:chOff x="1001213" y="3645619"/>
            <a:chExt cx="231007" cy="254383"/>
          </a:xfrm>
        </p:grpSpPr>
        <p:sp>
          <p:nvSpPr>
            <p:cNvPr id="1034" name="Isosceles Triangle 1033">
              <a:extLst>
                <a:ext uri="{FF2B5EF4-FFF2-40B4-BE49-F238E27FC236}">
                  <a16:creationId xmlns:a16="http://schemas.microsoft.com/office/drawing/2014/main" id="{2BFF4479-BB87-2023-3D76-6D20B2D03FF7}"/>
                </a:ext>
              </a:extLst>
            </p:cNvPr>
            <p:cNvSpPr/>
            <p:nvPr/>
          </p:nvSpPr>
          <p:spPr>
            <a:xfrm>
              <a:off x="1001213" y="3645619"/>
              <a:ext cx="231007" cy="199144"/>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035" name="Isosceles Triangle 1034">
              <a:extLst>
                <a:ext uri="{FF2B5EF4-FFF2-40B4-BE49-F238E27FC236}">
                  <a16:creationId xmlns:a16="http://schemas.microsoft.com/office/drawing/2014/main" id="{5F26D77F-8D3D-A914-8BAD-E7D35E41A035}"/>
                </a:ext>
              </a:extLst>
            </p:cNvPr>
            <p:cNvSpPr/>
            <p:nvPr/>
          </p:nvSpPr>
          <p:spPr>
            <a:xfrm>
              <a:off x="1030402" y="3704180"/>
              <a:ext cx="172628" cy="148817"/>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036" name="Isosceles Triangle 1035">
              <a:extLst>
                <a:ext uri="{FF2B5EF4-FFF2-40B4-BE49-F238E27FC236}">
                  <a16:creationId xmlns:a16="http://schemas.microsoft.com/office/drawing/2014/main" id="{5239E5CE-7B18-EBDE-D2E3-B90B061EF695}"/>
                </a:ext>
              </a:extLst>
            </p:cNvPr>
            <p:cNvSpPr/>
            <p:nvPr/>
          </p:nvSpPr>
          <p:spPr>
            <a:xfrm>
              <a:off x="1049679" y="3763546"/>
              <a:ext cx="134074" cy="115581"/>
            </a:xfrm>
            <a:prstGeom prst="triangle">
              <a:avLst/>
            </a:prstGeom>
            <a:solidFill>
              <a:srgbClr val="C6E6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037" name="Isosceles Triangle 1036">
              <a:extLst>
                <a:ext uri="{FF2B5EF4-FFF2-40B4-BE49-F238E27FC236}">
                  <a16:creationId xmlns:a16="http://schemas.microsoft.com/office/drawing/2014/main" id="{50ED5889-FBBC-36A5-DA30-D54A81CAA1B5}"/>
                </a:ext>
              </a:extLst>
            </p:cNvPr>
            <p:cNvSpPr/>
            <p:nvPr/>
          </p:nvSpPr>
          <p:spPr>
            <a:xfrm>
              <a:off x="1067235" y="3814690"/>
              <a:ext cx="98962" cy="85312"/>
            </a:xfrm>
            <a:prstGeom prst="triangle">
              <a:avLst/>
            </a:prstGeom>
            <a:solidFill>
              <a:srgbClr val="F0F9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grpSp>
      <p:grpSp>
        <p:nvGrpSpPr>
          <p:cNvPr id="1038" name="Group 1037">
            <a:extLst>
              <a:ext uri="{FF2B5EF4-FFF2-40B4-BE49-F238E27FC236}">
                <a16:creationId xmlns:a16="http://schemas.microsoft.com/office/drawing/2014/main" id="{5F766F47-C8E2-F794-93F8-9C7A1B57A50F}"/>
              </a:ext>
            </a:extLst>
          </p:cNvPr>
          <p:cNvGrpSpPr/>
          <p:nvPr/>
        </p:nvGrpSpPr>
        <p:grpSpPr>
          <a:xfrm>
            <a:off x="10376427" y="2231983"/>
            <a:ext cx="163880" cy="180463"/>
            <a:chOff x="1001213" y="3645619"/>
            <a:chExt cx="231007" cy="254383"/>
          </a:xfrm>
        </p:grpSpPr>
        <p:sp>
          <p:nvSpPr>
            <p:cNvPr id="1039" name="Isosceles Triangle 1038">
              <a:extLst>
                <a:ext uri="{FF2B5EF4-FFF2-40B4-BE49-F238E27FC236}">
                  <a16:creationId xmlns:a16="http://schemas.microsoft.com/office/drawing/2014/main" id="{8E3C6EEE-BDE3-A42C-2DDA-65E9073BB4E4}"/>
                </a:ext>
              </a:extLst>
            </p:cNvPr>
            <p:cNvSpPr/>
            <p:nvPr/>
          </p:nvSpPr>
          <p:spPr>
            <a:xfrm>
              <a:off x="1001213" y="3645619"/>
              <a:ext cx="231007" cy="199144"/>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040" name="Isosceles Triangle 1039">
              <a:extLst>
                <a:ext uri="{FF2B5EF4-FFF2-40B4-BE49-F238E27FC236}">
                  <a16:creationId xmlns:a16="http://schemas.microsoft.com/office/drawing/2014/main" id="{6AF497DF-DD39-3E83-C588-60A67CEE0842}"/>
                </a:ext>
              </a:extLst>
            </p:cNvPr>
            <p:cNvSpPr/>
            <p:nvPr/>
          </p:nvSpPr>
          <p:spPr>
            <a:xfrm>
              <a:off x="1030402" y="3704180"/>
              <a:ext cx="172628" cy="148817"/>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041" name="Isosceles Triangle 1040">
              <a:extLst>
                <a:ext uri="{FF2B5EF4-FFF2-40B4-BE49-F238E27FC236}">
                  <a16:creationId xmlns:a16="http://schemas.microsoft.com/office/drawing/2014/main" id="{2E3604DE-6727-AA52-EE01-660C75C99EAD}"/>
                </a:ext>
              </a:extLst>
            </p:cNvPr>
            <p:cNvSpPr/>
            <p:nvPr/>
          </p:nvSpPr>
          <p:spPr>
            <a:xfrm>
              <a:off x="1049679" y="3763546"/>
              <a:ext cx="134074" cy="115581"/>
            </a:xfrm>
            <a:prstGeom prst="triangle">
              <a:avLst/>
            </a:prstGeom>
            <a:solidFill>
              <a:srgbClr val="C6E6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042" name="Isosceles Triangle 1041">
              <a:extLst>
                <a:ext uri="{FF2B5EF4-FFF2-40B4-BE49-F238E27FC236}">
                  <a16:creationId xmlns:a16="http://schemas.microsoft.com/office/drawing/2014/main" id="{8C42CF9A-3C61-398B-69BB-DF7892075182}"/>
                </a:ext>
              </a:extLst>
            </p:cNvPr>
            <p:cNvSpPr/>
            <p:nvPr/>
          </p:nvSpPr>
          <p:spPr>
            <a:xfrm>
              <a:off x="1067235" y="3814690"/>
              <a:ext cx="98962" cy="85312"/>
            </a:xfrm>
            <a:prstGeom prst="triangle">
              <a:avLst/>
            </a:prstGeom>
            <a:solidFill>
              <a:srgbClr val="F0F9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grpSp>
      <p:grpSp>
        <p:nvGrpSpPr>
          <p:cNvPr id="1088" name="Group 1087">
            <a:extLst>
              <a:ext uri="{FF2B5EF4-FFF2-40B4-BE49-F238E27FC236}">
                <a16:creationId xmlns:a16="http://schemas.microsoft.com/office/drawing/2014/main" id="{49271BA8-BBE0-9B4A-EA21-08657803AD0F}"/>
              </a:ext>
            </a:extLst>
          </p:cNvPr>
          <p:cNvGrpSpPr/>
          <p:nvPr/>
        </p:nvGrpSpPr>
        <p:grpSpPr>
          <a:xfrm>
            <a:off x="436231" y="5749749"/>
            <a:ext cx="11611792" cy="1020183"/>
            <a:chOff x="436231" y="5749749"/>
            <a:chExt cx="11555063" cy="1020183"/>
          </a:xfrm>
        </p:grpSpPr>
        <p:sp>
          <p:nvSpPr>
            <p:cNvPr id="37" name="Rectangle: Rounded Corners 36">
              <a:extLst>
                <a:ext uri="{FF2B5EF4-FFF2-40B4-BE49-F238E27FC236}">
                  <a16:creationId xmlns:a16="http://schemas.microsoft.com/office/drawing/2014/main" id="{B3CA16ED-966A-D8D7-A5D4-A135252D88FB}"/>
                </a:ext>
              </a:extLst>
            </p:cNvPr>
            <p:cNvSpPr/>
            <p:nvPr/>
          </p:nvSpPr>
          <p:spPr>
            <a:xfrm>
              <a:off x="436231" y="5749749"/>
              <a:ext cx="2851673" cy="994568"/>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800" b="1" i="0" u="none" strike="noStrike" kern="1200" cap="none" spc="0" normalizeH="0" baseline="0" noProof="0">
                  <a:ln>
                    <a:noFill/>
                  </a:ln>
                  <a:solidFill>
                    <a:srgbClr val="FFFFFF"/>
                  </a:solidFill>
                  <a:effectLst/>
                  <a:uLnTx/>
                  <a:uFillTx/>
                  <a:latin typeface="Ubuntu"/>
                  <a:ea typeface="+mn-ea"/>
                  <a:cs typeface="+mn-cs"/>
                </a:rPr>
                <a:t>Core Platform</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Integration: Nat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Main data</a:t>
              </a:r>
              <a:r>
                <a:rPr kumimoji="0" lang="en-IN" sz="800" b="0" i="0" u="none" strike="noStrike" kern="1200" cap="none" spc="0" normalizeH="0" baseline="0" noProof="0">
                  <a:ln>
                    <a:noFill/>
                  </a:ln>
                  <a:solidFill>
                    <a:srgbClr val="FFFFFF"/>
                  </a:solidFill>
                  <a:effectLst/>
                  <a:uLnTx/>
                  <a:uFillTx/>
                  <a:latin typeface="Ubuntu"/>
                  <a:ea typeface="+mn-ea"/>
                  <a:cs typeface="+mn-cs"/>
                </a:rPr>
                <a:t> </a:t>
              </a:r>
              <a:r>
                <a:rPr kumimoji="0" lang="en-SE" sz="800" b="0" i="0" u="none" strike="noStrike" kern="1200" cap="none" spc="0" normalizeH="0" baseline="0" noProof="0">
                  <a:ln>
                    <a:noFill/>
                  </a:ln>
                  <a:solidFill>
                    <a:srgbClr val="FFFFFF"/>
                  </a:solidFill>
                  <a:effectLst/>
                  <a:uLnTx/>
                  <a:uFillTx/>
                  <a:latin typeface="Ubuntu"/>
                  <a:ea typeface="+mn-ea"/>
                  <a:cs typeface="+mn-cs"/>
                </a:rPr>
                <a:t>model, most commonly but not limited to Sales, Service and Marketing for Growth, Knowledge and Assets, as well as AWS S3 connectors (roadmap 2025)</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Ubuntu"/>
                <a:ea typeface="+mn-ea"/>
                <a:cs typeface="+mn-cs"/>
              </a:endParaRPr>
            </a:p>
          </p:txBody>
        </p:sp>
        <p:sp>
          <p:nvSpPr>
            <p:cNvPr id="38" name="Rectangle: Rounded Corners 37">
              <a:extLst>
                <a:ext uri="{FF2B5EF4-FFF2-40B4-BE49-F238E27FC236}">
                  <a16:creationId xmlns:a16="http://schemas.microsoft.com/office/drawing/2014/main" id="{56F945FA-3FB1-6ACE-6F84-A6F75CFE5B81}"/>
                </a:ext>
              </a:extLst>
            </p:cNvPr>
            <p:cNvSpPr/>
            <p:nvPr/>
          </p:nvSpPr>
          <p:spPr>
            <a:xfrm>
              <a:off x="3337360" y="5749749"/>
              <a:ext cx="2851674" cy="1020183"/>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800" b="1" i="0" u="none" strike="noStrike" kern="1200" cap="none" spc="0" normalizeH="0" baseline="0" noProof="0">
                  <a:ln>
                    <a:noFill/>
                  </a:ln>
                  <a:solidFill>
                    <a:srgbClr val="FFFFFF"/>
                  </a:solidFill>
                  <a:effectLst/>
                  <a:uLnTx/>
                  <a:uFillTx/>
                  <a:latin typeface="Ubuntu"/>
                  <a:ea typeface="+mn-ea"/>
                  <a:cs typeface="+mn-cs"/>
                </a:rPr>
                <a:t>Data Cloud</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Exposing data for the LLM for generation and training</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Integration: Native</a:t>
              </a: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Enterprise dataset training for LLMs</a:t>
              </a: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I</a:t>
              </a:r>
              <a:r>
                <a:rPr kumimoji="0" lang="en-US" sz="800" b="0" i="0" u="none" strike="noStrike" kern="1200" cap="none" spc="0" normalizeH="0" baseline="0" noProof="0">
                  <a:ln>
                    <a:noFill/>
                  </a:ln>
                  <a:solidFill>
                    <a:srgbClr val="FFFFFF"/>
                  </a:solidFill>
                  <a:effectLst/>
                  <a:uLnTx/>
                  <a:uFillTx/>
                  <a:latin typeface="Ubuntu"/>
                  <a:ea typeface="+mn-ea"/>
                  <a:cs typeface="+mn-cs"/>
                </a:rPr>
                <a:t>n</a:t>
              </a:r>
              <a:r>
                <a:rPr kumimoji="0" lang="en-SE" sz="800" b="0" i="0" u="none" strike="noStrike" kern="1200" cap="none" spc="0" normalizeH="0" baseline="0" noProof="0" err="1">
                  <a:ln>
                    <a:noFill/>
                  </a:ln>
                  <a:solidFill>
                    <a:srgbClr val="FFFFFF"/>
                  </a:solidFill>
                  <a:effectLst/>
                  <a:uLnTx/>
                  <a:uFillTx/>
                  <a:latin typeface="Ubuntu"/>
                  <a:ea typeface="+mn-ea"/>
                  <a:cs typeface="+mn-cs"/>
                </a:rPr>
                <a:t>dustry</a:t>
              </a:r>
              <a:r>
                <a:rPr kumimoji="0" lang="en-SE" sz="800" b="0" i="0" u="none" strike="noStrike" kern="1200" cap="none" spc="0" normalizeH="0" baseline="0" noProof="0">
                  <a:ln>
                    <a:noFill/>
                  </a:ln>
                  <a:solidFill>
                    <a:srgbClr val="FFFFFF"/>
                  </a:solidFill>
                  <a:effectLst/>
                  <a:uLnTx/>
                  <a:uFillTx/>
                  <a:latin typeface="Ubuntu"/>
                  <a:ea typeface="+mn-ea"/>
                  <a:cs typeface="+mn-cs"/>
                </a:rPr>
                <a:t> specific grounding</a:t>
              </a: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Non-salesforce </a:t>
              </a:r>
              <a:r>
                <a:rPr kumimoji="0" lang="en-SE" sz="800" b="0" i="0" u="none" strike="noStrike" kern="1200" cap="none" spc="0" normalizeH="0" baseline="0" noProof="0" err="1">
                  <a:ln>
                    <a:noFill/>
                  </a:ln>
                  <a:solidFill>
                    <a:srgbClr val="FFFFFF"/>
                  </a:solidFill>
                  <a:effectLst/>
                  <a:uLnTx/>
                  <a:uFillTx/>
                  <a:latin typeface="Ubuntu"/>
                  <a:ea typeface="+mn-ea"/>
                  <a:cs typeface="+mn-cs"/>
                </a:rPr>
                <a:t>datalake</a:t>
              </a:r>
              <a:r>
                <a:rPr kumimoji="0" lang="en-SE" sz="800" b="0" i="0" u="none" strike="noStrike" kern="1200" cap="none" spc="0" normalizeH="0" baseline="0" noProof="0">
                  <a:ln>
                    <a:noFill/>
                  </a:ln>
                  <a:solidFill>
                    <a:srgbClr val="FFFFFF"/>
                  </a:solidFill>
                  <a:effectLst/>
                  <a:uLnTx/>
                  <a:uFillTx/>
                  <a:latin typeface="Ubuntu"/>
                  <a:ea typeface="+mn-ea"/>
                  <a:cs typeface="+mn-cs"/>
                </a:rPr>
                <a:t> enabled data sets</a:t>
              </a:r>
              <a:endParaRPr kumimoji="0" lang="en-US" sz="800" b="0" i="0" u="none" strike="noStrike" kern="1200" cap="none" spc="0" normalizeH="0" baseline="0" noProof="0" err="1">
                <a:ln>
                  <a:noFill/>
                </a:ln>
                <a:solidFill>
                  <a:srgbClr val="FFFFFF"/>
                </a:solidFill>
                <a:effectLst/>
                <a:uLnTx/>
                <a:uFillTx/>
                <a:latin typeface="Ubuntu"/>
                <a:ea typeface="+mn-ea"/>
                <a:cs typeface="+mn-cs"/>
              </a:endParaRPr>
            </a:p>
          </p:txBody>
        </p:sp>
        <p:sp>
          <p:nvSpPr>
            <p:cNvPr id="1043" name="Rectangle: Rounded Corners 1042">
              <a:extLst>
                <a:ext uri="{FF2B5EF4-FFF2-40B4-BE49-F238E27FC236}">
                  <a16:creationId xmlns:a16="http://schemas.microsoft.com/office/drawing/2014/main" id="{1A1178D2-6C4C-7584-DFDE-C3FEC585D4F7}"/>
                </a:ext>
              </a:extLst>
            </p:cNvPr>
            <p:cNvSpPr/>
            <p:nvPr/>
          </p:nvSpPr>
          <p:spPr>
            <a:xfrm>
              <a:off x="6238490" y="5749749"/>
              <a:ext cx="2851674" cy="1020183"/>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800" b="1" i="0" u="none" strike="noStrike" kern="1200" cap="none" spc="0" normalizeH="0" baseline="0" noProof="0">
                  <a:ln>
                    <a:noFill/>
                  </a:ln>
                  <a:solidFill>
                    <a:srgbClr val="FFFFFF"/>
                  </a:solidFill>
                  <a:effectLst/>
                  <a:uLnTx/>
                  <a:uFillTx/>
                  <a:latin typeface="Ubuntu"/>
                  <a:ea typeface="+mn-ea"/>
                  <a:cs typeface="+mn-cs"/>
                </a:rPr>
                <a:t>Data Lakes and Enterprise Data Sources</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Exposing data for the LLM for generation and training</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Integration: Data Cloud / </a:t>
              </a:r>
              <a:r>
                <a:rPr kumimoji="0" lang="en-SE" sz="800" b="0" i="0" u="none" strike="noStrike" kern="1200" cap="none" spc="0" normalizeH="0" baseline="0" noProof="0" err="1">
                  <a:ln>
                    <a:noFill/>
                  </a:ln>
                  <a:solidFill>
                    <a:srgbClr val="FFFFFF"/>
                  </a:solidFill>
                  <a:effectLst/>
                  <a:uLnTx/>
                  <a:uFillTx/>
                  <a:latin typeface="Ubuntu"/>
                  <a:ea typeface="+mn-ea"/>
                  <a:cs typeface="+mn-cs"/>
                </a:rPr>
                <a:t>Mulesoft</a:t>
              </a:r>
              <a:endParaRPr kumimoji="0" lang="en-SE" sz="800" b="0" i="0" u="none" strike="noStrike" kern="1200" cap="none" spc="0" normalizeH="0" baseline="0" noProof="0">
                <a:ln>
                  <a:noFill/>
                </a:ln>
                <a:solidFill>
                  <a:srgbClr val="FFFFFF"/>
                </a:solidFill>
                <a:effectLst/>
                <a:uLnTx/>
                <a:uFillTx/>
                <a:latin typeface="Ubuntu"/>
                <a:ea typeface="+mn-ea"/>
                <a:cs typeface="+mn-cs"/>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Native dataset training for LLMs</a:t>
              </a: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I</a:t>
              </a:r>
              <a:r>
                <a:rPr kumimoji="0" lang="en-US" sz="800" b="0" i="0" u="none" strike="noStrike" kern="1200" cap="none" spc="0" normalizeH="0" baseline="0" noProof="0">
                  <a:ln>
                    <a:noFill/>
                  </a:ln>
                  <a:solidFill>
                    <a:srgbClr val="FFFFFF"/>
                  </a:solidFill>
                  <a:effectLst/>
                  <a:uLnTx/>
                  <a:uFillTx/>
                  <a:latin typeface="Ubuntu"/>
                  <a:ea typeface="+mn-ea"/>
                  <a:cs typeface="+mn-cs"/>
                </a:rPr>
                <a:t>n</a:t>
              </a:r>
              <a:r>
                <a:rPr kumimoji="0" lang="en-SE" sz="800" b="0" i="0" u="none" strike="noStrike" kern="1200" cap="none" spc="0" normalizeH="0" baseline="0" noProof="0" err="1">
                  <a:ln>
                    <a:noFill/>
                  </a:ln>
                  <a:solidFill>
                    <a:srgbClr val="FFFFFF"/>
                  </a:solidFill>
                  <a:effectLst/>
                  <a:uLnTx/>
                  <a:uFillTx/>
                  <a:latin typeface="Ubuntu"/>
                  <a:ea typeface="+mn-ea"/>
                  <a:cs typeface="+mn-cs"/>
                </a:rPr>
                <a:t>dustry</a:t>
              </a:r>
              <a:r>
                <a:rPr kumimoji="0" lang="en-SE" sz="800" b="0" i="0" u="none" strike="noStrike" kern="1200" cap="none" spc="0" normalizeH="0" baseline="0" noProof="0">
                  <a:ln>
                    <a:noFill/>
                  </a:ln>
                  <a:solidFill>
                    <a:srgbClr val="FFFFFF"/>
                  </a:solidFill>
                  <a:effectLst/>
                  <a:uLnTx/>
                  <a:uFillTx/>
                  <a:latin typeface="Ubuntu"/>
                  <a:ea typeface="+mn-ea"/>
                  <a:cs typeface="+mn-cs"/>
                </a:rPr>
                <a:t> specific grounding</a:t>
              </a: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Non-salesforce </a:t>
              </a:r>
              <a:r>
                <a:rPr kumimoji="0" lang="en-SE" sz="800" b="0" i="0" u="none" strike="noStrike" kern="1200" cap="none" spc="0" normalizeH="0" baseline="0" noProof="0" err="1">
                  <a:ln>
                    <a:noFill/>
                  </a:ln>
                  <a:solidFill>
                    <a:srgbClr val="FFFFFF"/>
                  </a:solidFill>
                  <a:effectLst/>
                  <a:uLnTx/>
                  <a:uFillTx/>
                  <a:latin typeface="Ubuntu"/>
                  <a:ea typeface="+mn-ea"/>
                  <a:cs typeface="+mn-cs"/>
                </a:rPr>
                <a:t>datalake</a:t>
              </a:r>
              <a:r>
                <a:rPr kumimoji="0" lang="en-SE" sz="800" b="0" i="0" u="none" strike="noStrike" kern="1200" cap="none" spc="0" normalizeH="0" baseline="0" noProof="0">
                  <a:ln>
                    <a:noFill/>
                  </a:ln>
                  <a:solidFill>
                    <a:srgbClr val="FFFFFF"/>
                  </a:solidFill>
                  <a:effectLst/>
                  <a:uLnTx/>
                  <a:uFillTx/>
                  <a:latin typeface="Ubuntu"/>
                  <a:ea typeface="+mn-ea"/>
                  <a:cs typeface="+mn-cs"/>
                </a:rPr>
                <a:t> enabled data sets</a:t>
              </a:r>
              <a:endParaRPr kumimoji="0" lang="en-US" sz="800" b="0" i="0" u="none" strike="noStrike" kern="1200" cap="none" spc="0" normalizeH="0" baseline="0" noProof="0" err="1">
                <a:ln>
                  <a:noFill/>
                </a:ln>
                <a:solidFill>
                  <a:srgbClr val="FFFFFF"/>
                </a:solidFill>
                <a:effectLst/>
                <a:uLnTx/>
                <a:uFillTx/>
                <a:latin typeface="Ubuntu"/>
                <a:ea typeface="+mn-ea"/>
                <a:cs typeface="+mn-cs"/>
              </a:endParaRPr>
            </a:p>
          </p:txBody>
        </p:sp>
        <p:sp>
          <p:nvSpPr>
            <p:cNvPr id="1044" name="Rectangle: Rounded Corners 1043">
              <a:extLst>
                <a:ext uri="{FF2B5EF4-FFF2-40B4-BE49-F238E27FC236}">
                  <a16:creationId xmlns:a16="http://schemas.microsoft.com/office/drawing/2014/main" id="{3D2717EF-744C-5447-3EE2-415B02411148}"/>
                </a:ext>
              </a:extLst>
            </p:cNvPr>
            <p:cNvSpPr/>
            <p:nvPr/>
          </p:nvSpPr>
          <p:spPr>
            <a:xfrm>
              <a:off x="9139620" y="5749749"/>
              <a:ext cx="2851674" cy="1020183"/>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SE" sz="800" b="1" i="0" u="none" strike="noStrike" kern="1200" cap="none" spc="0" normalizeH="0" baseline="0" noProof="0">
                  <a:ln>
                    <a:noFill/>
                  </a:ln>
                  <a:solidFill>
                    <a:srgbClr val="FFFFFF"/>
                  </a:solidFill>
                  <a:effectLst/>
                  <a:uLnTx/>
                  <a:uFillTx/>
                  <a:latin typeface="Ubuntu"/>
                  <a:ea typeface="+mn-ea"/>
                  <a:cs typeface="+mn-cs"/>
                </a:rPr>
                <a:t>Cross Cloud</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Integration:  Data Cloud / </a:t>
              </a:r>
              <a:r>
                <a:rPr kumimoji="0" lang="en-SE" sz="800" b="0" i="0" u="none" strike="noStrike" kern="1200" cap="none" spc="0" normalizeH="0" baseline="0" noProof="0" err="1">
                  <a:ln>
                    <a:noFill/>
                  </a:ln>
                  <a:solidFill>
                    <a:srgbClr val="FFFFFF"/>
                  </a:solidFill>
                  <a:effectLst/>
                  <a:uLnTx/>
                  <a:uFillTx/>
                  <a:latin typeface="Ubuntu"/>
                  <a:ea typeface="+mn-ea"/>
                  <a:cs typeface="+mn-cs"/>
                </a:rPr>
                <a:t>Mulesoft</a:t>
              </a:r>
              <a:endParaRPr kumimoji="0" lang="en-SE" sz="800" b="0" i="0" u="none" strike="noStrike" kern="1200" cap="none" spc="0" normalizeH="0" baseline="0" noProof="0">
                <a:ln>
                  <a:noFill/>
                </a:ln>
                <a:solidFill>
                  <a:srgbClr val="FFFFFF"/>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Marketing Cloud, Tableau etc.</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E" sz="800" b="0" i="0" u="none" strike="noStrike" kern="1200" cap="none" spc="0" normalizeH="0" baseline="0" noProof="0">
                <a:ln>
                  <a:noFill/>
                </a:ln>
                <a:solidFill>
                  <a:srgbClr val="FFFFFF"/>
                </a:solidFill>
                <a:effectLst/>
                <a:uLnTx/>
                <a:uFillTx/>
                <a:latin typeface="Ubuntu"/>
                <a:ea typeface="+mn-ea"/>
                <a:cs typeface="+mn-cs"/>
              </a:endParaRPr>
            </a:p>
          </p:txBody>
        </p:sp>
      </p:grpSp>
      <p:pic>
        <p:nvPicPr>
          <p:cNvPr id="1060" name="Picture 10" descr="It's all 'Einstein' all the time as Salesforce adds AI to its entire  product line – GeekWire">
            <a:extLst>
              <a:ext uri="{FF2B5EF4-FFF2-40B4-BE49-F238E27FC236}">
                <a16:creationId xmlns:a16="http://schemas.microsoft.com/office/drawing/2014/main" id="{BCC0FC01-AE8F-AC89-D23C-A00D0EEA0FA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49249" b="5604"/>
          <a:stretch/>
        </p:blipFill>
        <p:spPr bwMode="auto">
          <a:xfrm rot="16200000">
            <a:off x="78502" y="3453276"/>
            <a:ext cx="249104" cy="236103"/>
          </a:xfrm>
          <a:prstGeom prst="roundRect">
            <a:avLst/>
          </a:prstGeom>
          <a:noFill/>
          <a:extLst>
            <a:ext uri="{909E8E84-426E-40DD-AFC4-6F175D3DCCD1}">
              <a14:hiddenFill xmlns:a14="http://schemas.microsoft.com/office/drawing/2010/main">
                <a:solidFill>
                  <a:srgbClr val="FFFFFF"/>
                </a:solidFill>
              </a14:hiddenFill>
            </a:ext>
          </a:extLst>
        </p:spPr>
      </p:pic>
      <p:sp>
        <p:nvSpPr>
          <p:cNvPr id="1063" name="Rectangle: Rounded Corners 1062">
            <a:extLst>
              <a:ext uri="{FF2B5EF4-FFF2-40B4-BE49-F238E27FC236}">
                <a16:creationId xmlns:a16="http://schemas.microsoft.com/office/drawing/2014/main" id="{9BFD0F4D-F34E-EF4F-BDEB-EC166A7E121C}"/>
              </a:ext>
            </a:extLst>
          </p:cNvPr>
          <p:cNvSpPr/>
          <p:nvPr/>
        </p:nvSpPr>
        <p:spPr>
          <a:xfrm>
            <a:off x="383908" y="4298757"/>
            <a:ext cx="11688201" cy="1351547"/>
          </a:xfrm>
          <a:prstGeom prst="roundRect">
            <a:avLst>
              <a:gd name="adj" fmla="val 3997"/>
            </a:avLst>
          </a:prstGeom>
          <a:solidFill>
            <a:schemeClr val="bg2">
              <a:lumMod val="10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065" name="TextBox 1064">
            <a:extLst>
              <a:ext uri="{FF2B5EF4-FFF2-40B4-BE49-F238E27FC236}">
                <a16:creationId xmlns:a16="http://schemas.microsoft.com/office/drawing/2014/main" id="{8BE24BBB-682F-1D36-4436-B6A2E3DE0110}"/>
              </a:ext>
            </a:extLst>
          </p:cNvPr>
          <p:cNvSpPr txBox="1"/>
          <p:nvPr/>
        </p:nvSpPr>
        <p:spPr>
          <a:xfrm rot="16200000">
            <a:off x="-909016" y="2239241"/>
            <a:ext cx="222693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E" sz="1200" b="0" i="0" u="none" strike="noStrike" kern="1200" cap="none" spc="0" normalizeH="0" baseline="0" noProof="0">
                <a:ln>
                  <a:noFill/>
                </a:ln>
                <a:solidFill>
                  <a:srgbClr val="FFFFFF"/>
                </a:solidFill>
                <a:effectLst/>
                <a:uLnTx/>
                <a:uFillTx/>
                <a:latin typeface="Ubuntu"/>
                <a:ea typeface="+mn-ea"/>
                <a:cs typeface="+mn-cs"/>
              </a:rPr>
              <a:t>EINSTEIN 1 STUDIO </a:t>
            </a:r>
            <a:endParaRPr kumimoji="0" lang="en-US" sz="1200" b="0" i="0" u="none" strike="noStrike" kern="1200" cap="none" spc="0" normalizeH="0" baseline="0" noProof="0">
              <a:ln>
                <a:noFill/>
              </a:ln>
              <a:solidFill>
                <a:srgbClr val="FFFFFF"/>
              </a:solidFill>
              <a:effectLst/>
              <a:uLnTx/>
              <a:uFillTx/>
              <a:latin typeface="Ubuntu"/>
              <a:ea typeface="+mn-ea"/>
              <a:cs typeface="+mn-cs"/>
            </a:endParaRPr>
          </a:p>
        </p:txBody>
      </p:sp>
      <p:sp>
        <p:nvSpPr>
          <p:cNvPr id="1066" name="TextBox 1065">
            <a:extLst>
              <a:ext uri="{FF2B5EF4-FFF2-40B4-BE49-F238E27FC236}">
                <a16:creationId xmlns:a16="http://schemas.microsoft.com/office/drawing/2014/main" id="{F31315CE-A4C0-A327-DD1D-89D76A208D34}"/>
              </a:ext>
            </a:extLst>
          </p:cNvPr>
          <p:cNvSpPr txBox="1"/>
          <p:nvPr/>
        </p:nvSpPr>
        <p:spPr>
          <a:xfrm rot="16200000">
            <a:off x="-343348" y="6096331"/>
            <a:ext cx="1095599"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E" sz="1200" b="0" i="0" u="none" strike="noStrike" kern="1200" cap="none" spc="0" normalizeH="0" baseline="0" noProof="0">
                <a:ln>
                  <a:noFill/>
                </a:ln>
                <a:solidFill>
                  <a:srgbClr val="FFFFFF"/>
                </a:solidFill>
                <a:effectLst/>
                <a:uLnTx/>
                <a:uFillTx/>
                <a:latin typeface="Ubuntu"/>
                <a:ea typeface="+mn-ea"/>
                <a:cs typeface="+mn-cs"/>
              </a:rPr>
              <a:t>GROUNDING</a:t>
            </a:r>
            <a:endParaRPr kumimoji="0" lang="en-US" sz="1200" b="0" i="0" u="none" strike="noStrike" kern="1200" cap="none" spc="0" normalizeH="0" baseline="0" noProof="0">
              <a:ln>
                <a:noFill/>
              </a:ln>
              <a:solidFill>
                <a:srgbClr val="FFFFFF"/>
              </a:solidFill>
              <a:effectLst/>
              <a:uLnTx/>
              <a:uFillTx/>
              <a:latin typeface="Ubuntu"/>
              <a:ea typeface="+mn-ea"/>
              <a:cs typeface="+mn-cs"/>
            </a:endParaRPr>
          </a:p>
        </p:txBody>
      </p:sp>
      <p:sp>
        <p:nvSpPr>
          <p:cNvPr id="1067" name="TextBox 1066">
            <a:extLst>
              <a:ext uri="{FF2B5EF4-FFF2-40B4-BE49-F238E27FC236}">
                <a16:creationId xmlns:a16="http://schemas.microsoft.com/office/drawing/2014/main" id="{3F96387E-850C-954E-D4D3-6544A0E5ACC9}"/>
              </a:ext>
            </a:extLst>
          </p:cNvPr>
          <p:cNvSpPr txBox="1"/>
          <p:nvPr/>
        </p:nvSpPr>
        <p:spPr>
          <a:xfrm rot="16200000">
            <a:off x="-333286" y="4822730"/>
            <a:ext cx="107547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E" sz="1200" b="0" i="0" u="none" strike="noStrike" kern="1200" cap="none" spc="0" normalizeH="0" baseline="0" noProof="0">
                <a:ln>
                  <a:noFill/>
                </a:ln>
                <a:solidFill>
                  <a:srgbClr val="FFFFFF"/>
                </a:solidFill>
                <a:effectLst/>
                <a:uLnTx/>
                <a:uFillTx/>
                <a:latin typeface="Ubuntu"/>
                <a:ea typeface="+mn-ea"/>
                <a:cs typeface="+mn-cs"/>
              </a:rPr>
              <a:t>DEVELOPER</a:t>
            </a:r>
            <a:endParaRPr kumimoji="0" lang="en-US" sz="1200" b="0" i="0" u="none" strike="noStrike" kern="1200" cap="none" spc="0" normalizeH="0" baseline="0" noProof="0">
              <a:ln>
                <a:noFill/>
              </a:ln>
              <a:solidFill>
                <a:srgbClr val="FFFFFF"/>
              </a:solidFill>
              <a:effectLst/>
              <a:uLnTx/>
              <a:uFillTx/>
              <a:latin typeface="Ubuntu"/>
              <a:ea typeface="+mn-ea"/>
              <a:cs typeface="+mn-cs"/>
            </a:endParaRPr>
          </a:p>
        </p:txBody>
      </p:sp>
      <p:pic>
        <p:nvPicPr>
          <p:cNvPr id="1087" name="Picture 1086">
            <a:extLst>
              <a:ext uri="{FF2B5EF4-FFF2-40B4-BE49-F238E27FC236}">
                <a16:creationId xmlns:a16="http://schemas.microsoft.com/office/drawing/2014/main" id="{65623155-1DBC-0EE0-380A-2582DA6D1DBA}"/>
              </a:ext>
            </a:extLst>
          </p:cNvPr>
          <p:cNvPicPr>
            <a:picLocks noChangeAspect="1"/>
          </p:cNvPicPr>
          <p:nvPr/>
        </p:nvPicPr>
        <p:blipFill rotWithShape="1">
          <a:blip r:embed="rId5"/>
          <a:srcRect l="23125" t="3588" r="26147" b="40207"/>
          <a:stretch/>
        </p:blipFill>
        <p:spPr>
          <a:xfrm>
            <a:off x="498409" y="5330639"/>
            <a:ext cx="250561" cy="244912"/>
          </a:xfrm>
          <a:prstGeom prst="roundRect">
            <a:avLst/>
          </a:prstGeom>
        </p:spPr>
      </p:pic>
      <p:pic>
        <p:nvPicPr>
          <p:cNvPr id="4" name="Picture 2" descr="Copado DevOps Platform for Salesforce">
            <a:extLst>
              <a:ext uri="{FF2B5EF4-FFF2-40B4-BE49-F238E27FC236}">
                <a16:creationId xmlns:a16="http://schemas.microsoft.com/office/drawing/2014/main" id="{C40BC419-8403-0E74-0C2D-061B3AB72A3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8173" y="4934687"/>
            <a:ext cx="240797" cy="226633"/>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3A59D3DF-07D4-D9DC-B685-FAB97E4ACD08}"/>
              </a:ext>
            </a:extLst>
          </p:cNvPr>
          <p:cNvGrpSpPr/>
          <p:nvPr/>
        </p:nvGrpSpPr>
        <p:grpSpPr>
          <a:xfrm>
            <a:off x="461145" y="4377839"/>
            <a:ext cx="11586879" cy="1237844"/>
            <a:chOff x="461145" y="4478577"/>
            <a:chExt cx="11586879" cy="1137106"/>
          </a:xfrm>
        </p:grpSpPr>
        <p:sp>
          <p:nvSpPr>
            <p:cNvPr id="1046" name="Rectangle: Rounded Corners 1045">
              <a:extLst>
                <a:ext uri="{FF2B5EF4-FFF2-40B4-BE49-F238E27FC236}">
                  <a16:creationId xmlns:a16="http://schemas.microsoft.com/office/drawing/2014/main" id="{8B38A495-CB2F-DC63-1DA1-99E002A35689}"/>
                </a:ext>
              </a:extLst>
            </p:cNvPr>
            <p:cNvSpPr/>
            <p:nvPr/>
          </p:nvSpPr>
          <p:spPr>
            <a:xfrm>
              <a:off x="2038763" y="5275003"/>
              <a:ext cx="3760919" cy="3406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800" b="1" i="0" u="none" strike="noStrike" kern="1200" cap="none" spc="0" normalizeH="0" baseline="0" noProof="0">
                  <a:ln>
                    <a:noFill/>
                  </a:ln>
                  <a:solidFill>
                    <a:prstClr val="black">
                      <a:lumMod val="75000"/>
                      <a:lumOff val="25000"/>
                    </a:prstClr>
                  </a:solidFill>
                  <a:effectLst/>
                  <a:uLnTx/>
                  <a:uFillTx/>
                  <a:latin typeface="Ubuntu"/>
                  <a:ea typeface="+mn-ea"/>
                  <a:cs typeface="+mn-cs"/>
                </a:rPr>
                <a:t>Capgemini Developer productivity toolset</a:t>
              </a:r>
              <a:r>
                <a:rPr kumimoji="0" lang="en-IN" sz="800" b="1" i="0" u="none" strike="noStrike" kern="1200" cap="none" spc="0" normalizeH="0" baseline="0" noProof="0">
                  <a:ln>
                    <a:noFill/>
                  </a:ln>
                  <a:solidFill>
                    <a:prstClr val="black">
                      <a:lumMod val="75000"/>
                      <a:lumOff val="25000"/>
                    </a:prstClr>
                  </a:solidFill>
                  <a:effectLst/>
                  <a:uLnTx/>
                  <a:uFillTx/>
                  <a:latin typeface="Ubuntu"/>
                  <a:ea typeface="+mn-ea"/>
                  <a:cs typeface="+mn-cs"/>
                </a:rPr>
                <a:t>, Other </a:t>
              </a:r>
              <a:r>
                <a:rPr lang="en-IN" sz="800" b="1">
                  <a:solidFill>
                    <a:prstClr val="black">
                      <a:lumMod val="75000"/>
                      <a:lumOff val="25000"/>
                    </a:prstClr>
                  </a:solidFill>
                  <a:latin typeface="Ubuntu"/>
                </a:rPr>
                <a:t>Gen AI COT</a:t>
              </a:r>
              <a:r>
                <a:rPr lang="en-SE" sz="800" b="1">
                  <a:solidFill>
                    <a:prstClr val="black">
                      <a:lumMod val="75000"/>
                      <a:lumOff val="25000"/>
                    </a:prstClr>
                  </a:solidFill>
                  <a:latin typeface="Ubuntu"/>
                </a:rPr>
                <a:t>S</a:t>
              </a:r>
              <a:r>
                <a:rPr lang="en-IN" sz="800" b="1">
                  <a:solidFill>
                    <a:prstClr val="black">
                      <a:lumMod val="75000"/>
                      <a:lumOff val="25000"/>
                    </a:prstClr>
                  </a:solidFill>
                  <a:latin typeface="Ubuntu"/>
                </a:rPr>
                <a:t> Tool</a:t>
              </a:r>
              <a:r>
                <a:rPr lang="en-SE" sz="800" b="1">
                  <a:solidFill>
                    <a:prstClr val="black">
                      <a:lumMod val="75000"/>
                      <a:lumOff val="25000"/>
                    </a:prstClr>
                  </a:solidFill>
                  <a:latin typeface="Ubuntu"/>
                </a:rPr>
                <a:t>s</a:t>
              </a:r>
              <a:r>
                <a:rPr lang="en-IN" sz="800" b="1">
                  <a:solidFill>
                    <a:prstClr val="black">
                      <a:lumMod val="75000"/>
                      <a:lumOff val="25000"/>
                    </a:prstClr>
                  </a:solidFill>
                  <a:latin typeface="Ubuntu"/>
                </a:rPr>
                <a:t> </a:t>
              </a:r>
              <a:endParaRPr lang="en-US" sz="800" b="1">
                <a:solidFill>
                  <a:prstClr val="black">
                    <a:lumMod val="75000"/>
                    <a:lumOff val="25000"/>
                  </a:prstClr>
                </a:solidFill>
                <a:latin typeface="Ubuntu"/>
              </a:endParaRPr>
            </a:p>
          </p:txBody>
        </p:sp>
        <p:sp>
          <p:nvSpPr>
            <p:cNvPr id="1047" name="Rectangle: Rounded Corners 1046">
              <a:extLst>
                <a:ext uri="{FF2B5EF4-FFF2-40B4-BE49-F238E27FC236}">
                  <a16:creationId xmlns:a16="http://schemas.microsoft.com/office/drawing/2014/main" id="{F511EFFB-588C-A1B1-0B6E-1FB97A69067C}"/>
                </a:ext>
              </a:extLst>
            </p:cNvPr>
            <p:cNvSpPr/>
            <p:nvPr/>
          </p:nvSpPr>
          <p:spPr>
            <a:xfrm>
              <a:off x="5871233" y="5280462"/>
              <a:ext cx="3034314" cy="329763"/>
            </a:xfrm>
            <a:prstGeom prst="round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800" b="1" i="0" u="none" strike="noStrike" kern="1200" cap="none" spc="0" normalizeH="0" baseline="0" noProof="0">
                  <a:ln>
                    <a:noFill/>
                  </a:ln>
                  <a:solidFill>
                    <a:srgbClr val="FFFFFF"/>
                  </a:solidFill>
                  <a:effectLst/>
                  <a:uLnTx/>
                  <a:uFillTx/>
                  <a:latin typeface="Ubuntu"/>
                  <a:ea typeface="+mn-ea"/>
                  <a:cs typeface="+mn-cs"/>
                </a:rPr>
                <a:t>Vs Code extension + LLM</a:t>
              </a:r>
              <a:endParaRPr kumimoji="0" lang="en-US" sz="800" b="1" i="0" u="none" strike="noStrike" kern="1200" cap="none" spc="0" normalizeH="0" baseline="0" noProof="0" err="1">
                <a:ln>
                  <a:noFill/>
                </a:ln>
                <a:solidFill>
                  <a:srgbClr val="FFFFFF"/>
                </a:solidFill>
                <a:effectLst/>
                <a:uLnTx/>
                <a:uFillTx/>
                <a:latin typeface="Ubuntu"/>
                <a:ea typeface="+mn-ea"/>
                <a:cs typeface="+mn-cs"/>
              </a:endParaRPr>
            </a:p>
          </p:txBody>
        </p:sp>
        <p:sp>
          <p:nvSpPr>
            <p:cNvPr id="1048" name="Rectangle: Rounded Corners 1047">
              <a:extLst>
                <a:ext uri="{FF2B5EF4-FFF2-40B4-BE49-F238E27FC236}">
                  <a16:creationId xmlns:a16="http://schemas.microsoft.com/office/drawing/2014/main" id="{823971EF-6302-A169-8969-E4F047093C25}"/>
                </a:ext>
              </a:extLst>
            </p:cNvPr>
            <p:cNvSpPr/>
            <p:nvPr/>
          </p:nvSpPr>
          <p:spPr>
            <a:xfrm>
              <a:off x="8983705" y="5275003"/>
              <a:ext cx="3064319" cy="340680"/>
            </a:xfrm>
            <a:prstGeom prst="round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Visual Studio Code + </a:t>
              </a:r>
              <a:r>
                <a:rPr kumimoji="0" lang="en-SE" sz="800" b="0" i="0" u="none" strike="noStrike" kern="1200" cap="none" spc="0" normalizeH="0" baseline="0" noProof="0" err="1">
                  <a:ln>
                    <a:noFill/>
                  </a:ln>
                  <a:solidFill>
                    <a:srgbClr val="FFFFFF"/>
                  </a:solidFill>
                  <a:effectLst/>
                  <a:uLnTx/>
                  <a:uFillTx/>
                  <a:latin typeface="Ubuntu"/>
                  <a:ea typeface="+mn-ea"/>
                  <a:cs typeface="+mn-cs"/>
                </a:rPr>
                <a:t>Datamodel</a:t>
              </a:r>
              <a:r>
                <a:rPr kumimoji="0" lang="en-SE" sz="800" b="0" i="0" u="none" strike="noStrike" kern="1200" cap="none" spc="0" normalizeH="0" baseline="0" noProof="0">
                  <a:ln>
                    <a:noFill/>
                  </a:ln>
                  <a:solidFill>
                    <a:srgbClr val="FFFFFF"/>
                  </a:solidFill>
                  <a:effectLst/>
                  <a:uLnTx/>
                  <a:uFillTx/>
                  <a:latin typeface="Ubuntu"/>
                  <a:ea typeface="+mn-ea"/>
                  <a:cs typeface="+mn-cs"/>
                </a:rPr>
                <a:t> Metadata + Code inspection</a:t>
              </a:r>
            </a:p>
          </p:txBody>
        </p:sp>
        <p:sp>
          <p:nvSpPr>
            <p:cNvPr id="1050" name="Rectangle: Rounded Corners 1049">
              <a:extLst>
                <a:ext uri="{FF2B5EF4-FFF2-40B4-BE49-F238E27FC236}">
                  <a16:creationId xmlns:a16="http://schemas.microsoft.com/office/drawing/2014/main" id="{CE745A32-B273-9CAB-802B-8CBA3E9B20F3}"/>
                </a:ext>
              </a:extLst>
            </p:cNvPr>
            <p:cNvSpPr/>
            <p:nvPr/>
          </p:nvSpPr>
          <p:spPr>
            <a:xfrm>
              <a:off x="2040128" y="4478577"/>
              <a:ext cx="3760919" cy="3406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800" b="1" i="0" u="none" strike="noStrike" kern="1200" cap="none" spc="0" normalizeH="0" baseline="0" noProof="0">
                  <a:ln>
                    <a:noFill/>
                  </a:ln>
                  <a:solidFill>
                    <a:prstClr val="black">
                      <a:lumMod val="75000"/>
                      <a:lumOff val="25000"/>
                    </a:prstClr>
                  </a:solidFill>
                  <a:effectLst/>
                  <a:uLnTx/>
                  <a:uFillTx/>
                  <a:latin typeface="Ubuntu"/>
                  <a:ea typeface="+mn-ea"/>
                  <a:cs typeface="+mn-cs"/>
                </a:rPr>
                <a:t>Create and modify workflow and integration automations (Einstein Flow and Mulesoft)</a:t>
              </a:r>
              <a:endParaRPr kumimoji="0" lang="en-US" sz="800" b="0" i="0" u="none" strike="noStrike" kern="1200" cap="none" spc="0" normalizeH="0" baseline="0" noProof="0">
                <a:ln>
                  <a:noFill/>
                </a:ln>
                <a:solidFill>
                  <a:prstClr val="black">
                    <a:lumMod val="75000"/>
                    <a:lumOff val="25000"/>
                  </a:prstClr>
                </a:solidFill>
                <a:effectLst/>
                <a:uLnTx/>
                <a:uFillTx/>
                <a:latin typeface="Ubuntu"/>
                <a:ea typeface="+mn-ea"/>
                <a:cs typeface="+mn-cs"/>
              </a:endParaRPr>
            </a:p>
          </p:txBody>
        </p:sp>
        <p:sp>
          <p:nvSpPr>
            <p:cNvPr id="1053" name="Rectangle: Rounded Corners 1052">
              <a:extLst>
                <a:ext uri="{FF2B5EF4-FFF2-40B4-BE49-F238E27FC236}">
                  <a16:creationId xmlns:a16="http://schemas.microsoft.com/office/drawing/2014/main" id="{46AFBEE9-3B95-33E2-A56A-25D3A40102E0}"/>
                </a:ext>
              </a:extLst>
            </p:cNvPr>
            <p:cNvSpPr/>
            <p:nvPr/>
          </p:nvSpPr>
          <p:spPr>
            <a:xfrm>
              <a:off x="2034582" y="4879771"/>
              <a:ext cx="3760919" cy="3406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800" b="1" i="0" u="none" strike="noStrike" kern="1200" cap="none" spc="0" normalizeH="0" baseline="0" noProof="0" err="1">
                  <a:ln>
                    <a:noFill/>
                  </a:ln>
                  <a:solidFill>
                    <a:prstClr val="black">
                      <a:lumMod val="75000"/>
                      <a:lumOff val="25000"/>
                    </a:prstClr>
                  </a:solidFill>
                  <a:effectLst/>
                  <a:uLnTx/>
                  <a:uFillTx/>
                  <a:latin typeface="Ubuntu"/>
                  <a:ea typeface="+mn-ea"/>
                  <a:cs typeface="+mn-cs"/>
                </a:rPr>
                <a:t>GenAI</a:t>
              </a:r>
              <a:r>
                <a:rPr kumimoji="0" lang="en-SE" sz="800" b="1" i="0" u="none" strike="noStrike" kern="1200" cap="none" spc="0" normalizeH="0" baseline="0" noProof="0">
                  <a:ln>
                    <a:noFill/>
                  </a:ln>
                  <a:solidFill>
                    <a:prstClr val="black">
                      <a:lumMod val="75000"/>
                      <a:lumOff val="25000"/>
                    </a:prstClr>
                  </a:solidFill>
                  <a:effectLst/>
                  <a:uLnTx/>
                  <a:uFillTx/>
                  <a:latin typeface="Ubuntu"/>
                  <a:ea typeface="+mn-ea"/>
                  <a:cs typeface="+mn-cs"/>
                </a:rPr>
                <a:t> for Test Automation (Roadmap, COPADO)</a:t>
              </a:r>
              <a:endParaRPr kumimoji="0" lang="en-US" sz="800" b="0" i="0" u="none" strike="noStrike" kern="1200" cap="none" spc="0" normalizeH="0" baseline="0" noProof="0">
                <a:ln>
                  <a:noFill/>
                </a:ln>
                <a:solidFill>
                  <a:prstClr val="black">
                    <a:lumMod val="75000"/>
                    <a:lumOff val="25000"/>
                  </a:prstClr>
                </a:solidFill>
                <a:effectLst/>
                <a:uLnTx/>
                <a:uFillTx/>
                <a:latin typeface="Ubuntu"/>
                <a:ea typeface="+mn-ea"/>
                <a:cs typeface="+mn-cs"/>
              </a:endParaRPr>
            </a:p>
          </p:txBody>
        </p:sp>
        <p:sp>
          <p:nvSpPr>
            <p:cNvPr id="1055" name="Rectangle: Rounded Corners 1054">
              <a:extLst>
                <a:ext uri="{FF2B5EF4-FFF2-40B4-BE49-F238E27FC236}">
                  <a16:creationId xmlns:a16="http://schemas.microsoft.com/office/drawing/2014/main" id="{4E55706D-306F-2BD1-50C1-4D9DC2EC9EFA}"/>
                </a:ext>
              </a:extLst>
            </p:cNvPr>
            <p:cNvSpPr/>
            <p:nvPr/>
          </p:nvSpPr>
          <p:spPr>
            <a:xfrm>
              <a:off x="8982386" y="4885230"/>
              <a:ext cx="3034314" cy="329763"/>
            </a:xfrm>
            <a:prstGeom prst="round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800" b="1" i="0" u="none" strike="noStrike" kern="1200" cap="none" spc="0" normalizeH="0" baseline="0" noProof="0">
                  <a:ln>
                    <a:noFill/>
                  </a:ln>
                  <a:solidFill>
                    <a:srgbClr val="FFFFFF"/>
                  </a:solidFill>
                  <a:effectLst/>
                  <a:uLnTx/>
                  <a:uFillTx/>
                  <a:latin typeface="Ubuntu"/>
                  <a:ea typeface="+mn-ea"/>
                  <a:cs typeface="+mn-cs"/>
                </a:rPr>
                <a:t>CICD Pipeline, Sandboxes, Scratch Orgs, Industry Clouds</a:t>
              </a:r>
              <a:endParaRPr kumimoji="0" lang="en-US" sz="800" b="1" i="0" u="none" strike="noStrike" kern="1200" cap="none" spc="0" normalizeH="0" baseline="0" noProof="0">
                <a:ln>
                  <a:noFill/>
                </a:ln>
                <a:solidFill>
                  <a:srgbClr val="FFFFFF"/>
                </a:solidFill>
                <a:effectLst/>
                <a:uLnTx/>
                <a:uFillTx/>
                <a:latin typeface="Ubuntu"/>
                <a:ea typeface="+mn-ea"/>
                <a:cs typeface="+mn-cs"/>
              </a:endParaRPr>
            </a:p>
          </p:txBody>
        </p:sp>
        <p:sp>
          <p:nvSpPr>
            <p:cNvPr id="1061" name="Rectangle: Rounded Corners 1060">
              <a:extLst>
                <a:ext uri="{FF2B5EF4-FFF2-40B4-BE49-F238E27FC236}">
                  <a16:creationId xmlns:a16="http://schemas.microsoft.com/office/drawing/2014/main" id="{7356148F-4DC3-6923-8B24-05DA46DB9066}"/>
                </a:ext>
              </a:extLst>
            </p:cNvPr>
            <p:cNvSpPr/>
            <p:nvPr/>
          </p:nvSpPr>
          <p:spPr>
            <a:xfrm>
              <a:off x="5874559" y="4484036"/>
              <a:ext cx="3034314" cy="329763"/>
            </a:xfrm>
            <a:prstGeom prst="round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800" b="1" i="0" u="none" strike="noStrike" kern="1200" cap="none" spc="0" normalizeH="0" baseline="0" noProof="0">
                  <a:ln>
                    <a:noFill/>
                  </a:ln>
                  <a:solidFill>
                    <a:srgbClr val="FFFFFF"/>
                  </a:solidFill>
                  <a:effectLst/>
                  <a:uLnTx/>
                  <a:uFillTx/>
                  <a:latin typeface="Ubuntu"/>
                  <a:ea typeface="+mn-ea"/>
                  <a:cs typeface="+mn-cs"/>
                </a:rPr>
                <a:t>Einstein for Flow (Flow UI), </a:t>
              </a:r>
              <a:r>
                <a:rPr kumimoji="0" lang="en-SE" sz="800" b="1" i="0" u="none" strike="noStrike" kern="1200" cap="none" spc="0" normalizeH="0" baseline="0" noProof="0" err="1">
                  <a:ln>
                    <a:noFill/>
                  </a:ln>
                  <a:solidFill>
                    <a:srgbClr val="FFFFFF"/>
                  </a:solidFill>
                  <a:effectLst/>
                  <a:uLnTx/>
                  <a:uFillTx/>
                  <a:latin typeface="Ubuntu"/>
                  <a:ea typeface="+mn-ea"/>
                  <a:cs typeface="+mn-cs"/>
                </a:rPr>
                <a:t>Anypoint</a:t>
              </a:r>
              <a:r>
                <a:rPr kumimoji="0" lang="en-SE" sz="800" b="1" i="0" u="none" strike="noStrike" kern="1200" cap="none" spc="0" normalizeH="0" baseline="0" noProof="0">
                  <a:ln>
                    <a:noFill/>
                  </a:ln>
                  <a:solidFill>
                    <a:srgbClr val="FFFFFF"/>
                  </a:solidFill>
                  <a:effectLst/>
                  <a:uLnTx/>
                  <a:uFillTx/>
                  <a:latin typeface="Ubuntu"/>
                  <a:ea typeface="+mn-ea"/>
                  <a:cs typeface="+mn-cs"/>
                </a:rPr>
                <a:t> Platform</a:t>
              </a:r>
              <a:endParaRPr kumimoji="0" lang="en-US" sz="800" b="1" i="0" u="none" strike="noStrike" kern="1200" cap="none" spc="0" normalizeH="0" baseline="0" noProof="0">
                <a:ln>
                  <a:noFill/>
                </a:ln>
                <a:solidFill>
                  <a:srgbClr val="FFFFFF"/>
                </a:solidFill>
                <a:effectLst/>
                <a:uLnTx/>
                <a:uFillTx/>
                <a:latin typeface="Ubuntu"/>
                <a:ea typeface="+mn-ea"/>
                <a:cs typeface="+mn-cs"/>
              </a:endParaRPr>
            </a:p>
          </p:txBody>
        </p:sp>
        <p:sp>
          <p:nvSpPr>
            <p:cNvPr id="1062" name="Rectangle: Rounded Corners 1061">
              <a:extLst>
                <a:ext uri="{FF2B5EF4-FFF2-40B4-BE49-F238E27FC236}">
                  <a16:creationId xmlns:a16="http://schemas.microsoft.com/office/drawing/2014/main" id="{DD0DFC5B-19C6-3A51-B515-6AA4BF9F3595}"/>
                </a:ext>
              </a:extLst>
            </p:cNvPr>
            <p:cNvSpPr/>
            <p:nvPr/>
          </p:nvSpPr>
          <p:spPr>
            <a:xfrm>
              <a:off x="8982386" y="4484036"/>
              <a:ext cx="3034314" cy="329763"/>
            </a:xfrm>
            <a:prstGeom prst="round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800" b="1" i="0" u="none" strike="noStrike" kern="1200" cap="none" spc="0" normalizeH="0" baseline="0" noProof="0">
                  <a:ln>
                    <a:noFill/>
                  </a:ln>
                  <a:solidFill>
                    <a:srgbClr val="FFFFFF"/>
                  </a:solidFill>
                  <a:effectLst/>
                  <a:uLnTx/>
                  <a:uFillTx/>
                  <a:latin typeface="Ubuntu"/>
                  <a:ea typeface="+mn-ea"/>
                  <a:cs typeface="+mn-cs"/>
                </a:rPr>
                <a:t>Flow + Einstein GPT, </a:t>
              </a:r>
              <a:r>
                <a:rPr kumimoji="0" lang="en-SE" sz="800" b="1" i="0" u="none" strike="noStrike" kern="1200" cap="none" spc="0" normalizeH="0" baseline="0" noProof="0" err="1">
                  <a:ln>
                    <a:noFill/>
                  </a:ln>
                  <a:solidFill>
                    <a:srgbClr val="FFFFFF"/>
                  </a:solidFill>
                  <a:effectLst/>
                  <a:uLnTx/>
                  <a:uFillTx/>
                  <a:latin typeface="Ubuntu"/>
                  <a:ea typeface="+mn-ea"/>
                  <a:cs typeface="+mn-cs"/>
                </a:rPr>
                <a:t>Mulesoft</a:t>
              </a:r>
              <a:r>
                <a:rPr kumimoji="0" lang="en-SE" sz="800" b="1" i="0" u="none" strike="noStrike" kern="1200" cap="none" spc="0" normalizeH="0" baseline="0" noProof="0">
                  <a:ln>
                    <a:noFill/>
                  </a:ln>
                  <a:solidFill>
                    <a:srgbClr val="FFFFFF"/>
                  </a:solidFill>
                  <a:effectLst/>
                  <a:uLnTx/>
                  <a:uFillTx/>
                  <a:latin typeface="Ubuntu"/>
                  <a:ea typeface="+mn-ea"/>
                  <a:cs typeface="+mn-cs"/>
                </a:rPr>
                <a:t> </a:t>
              </a:r>
              <a:r>
                <a:rPr kumimoji="0" lang="en-SE" sz="800" b="1" i="0" u="none" strike="noStrike" kern="1200" cap="none" spc="0" normalizeH="0" baseline="0" noProof="0" err="1">
                  <a:ln>
                    <a:noFill/>
                  </a:ln>
                  <a:solidFill>
                    <a:srgbClr val="FFFFFF"/>
                  </a:solidFill>
                  <a:effectLst/>
                  <a:uLnTx/>
                  <a:uFillTx/>
                  <a:latin typeface="Ubuntu"/>
                  <a:ea typeface="+mn-ea"/>
                  <a:cs typeface="+mn-cs"/>
                </a:rPr>
                <a:t>Anypoint</a:t>
              </a:r>
              <a:r>
                <a:rPr kumimoji="0" lang="en-SE" sz="800" b="1" i="0" u="none" strike="noStrike" kern="1200" cap="none" spc="0" normalizeH="0" baseline="0" noProof="0">
                  <a:ln>
                    <a:noFill/>
                  </a:ln>
                  <a:solidFill>
                    <a:srgbClr val="FFFFFF"/>
                  </a:solidFill>
                  <a:effectLst/>
                  <a:uLnTx/>
                  <a:uFillTx/>
                  <a:latin typeface="Ubuntu"/>
                  <a:ea typeface="+mn-ea"/>
                  <a:cs typeface="+mn-cs"/>
                </a:rPr>
                <a:t> Code Builder</a:t>
              </a:r>
              <a:endParaRPr kumimoji="0" lang="en-US" sz="800" b="1" i="0" u="none" strike="noStrike" kern="1200" cap="none" spc="0" normalizeH="0" baseline="0" noProof="0">
                <a:ln>
                  <a:noFill/>
                </a:ln>
                <a:solidFill>
                  <a:srgbClr val="FFFFFF"/>
                </a:solidFill>
                <a:effectLst/>
                <a:uLnTx/>
                <a:uFillTx/>
                <a:latin typeface="Ubuntu"/>
                <a:ea typeface="+mn-ea"/>
                <a:cs typeface="+mn-cs"/>
              </a:endParaRPr>
            </a:p>
          </p:txBody>
        </p:sp>
        <p:sp>
          <p:nvSpPr>
            <p:cNvPr id="1082" name="Rectangle: Rounded Corners 1081">
              <a:extLst>
                <a:ext uri="{FF2B5EF4-FFF2-40B4-BE49-F238E27FC236}">
                  <a16:creationId xmlns:a16="http://schemas.microsoft.com/office/drawing/2014/main" id="{901CFFB7-F660-0528-94BA-3A6CA87FBA54}"/>
                </a:ext>
              </a:extLst>
            </p:cNvPr>
            <p:cNvSpPr/>
            <p:nvPr/>
          </p:nvSpPr>
          <p:spPr>
            <a:xfrm>
              <a:off x="467554" y="5275003"/>
              <a:ext cx="1493578" cy="34068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GENAI for CX Foundry</a:t>
              </a:r>
              <a:r>
                <a:rPr kumimoji="0" lang="en-IN" sz="800" b="0" i="0" u="none" strike="noStrike" kern="1200" cap="none" spc="0" normalizeH="0" baseline="0" noProof="0">
                  <a:ln>
                    <a:noFill/>
                  </a:ln>
                  <a:solidFill>
                    <a:srgbClr val="FFFFFF"/>
                  </a:solidFill>
                  <a:effectLst/>
                  <a:uLnTx/>
                  <a:uFillTx/>
                  <a:latin typeface="Ubuntu"/>
                  <a:ea typeface="+mn-ea"/>
                  <a:cs typeface="+mn-cs"/>
                </a:rPr>
                <a:t> &amp; Other  Gen AI COT</a:t>
              </a:r>
              <a:r>
                <a:rPr kumimoji="0" lang="en-SE" sz="800" b="0" i="0" u="none" strike="noStrike" kern="1200" cap="none" spc="0" normalizeH="0" baseline="0" noProof="0">
                  <a:ln>
                    <a:noFill/>
                  </a:ln>
                  <a:solidFill>
                    <a:srgbClr val="FFFFFF"/>
                  </a:solidFill>
                  <a:effectLst/>
                  <a:uLnTx/>
                  <a:uFillTx/>
                  <a:latin typeface="Ubuntu"/>
                  <a:ea typeface="+mn-ea"/>
                  <a:cs typeface="+mn-cs"/>
                </a:rPr>
                <a:t>S</a:t>
              </a:r>
              <a:r>
                <a:rPr kumimoji="0" lang="en-IN" sz="800" b="0" i="0" u="none" strike="noStrike" kern="1200" cap="none" spc="0" normalizeH="0" baseline="0" noProof="0">
                  <a:ln>
                    <a:noFill/>
                  </a:ln>
                  <a:solidFill>
                    <a:srgbClr val="FFFFFF"/>
                  </a:solidFill>
                  <a:effectLst/>
                  <a:uLnTx/>
                  <a:uFillTx/>
                  <a:latin typeface="Ubuntu"/>
                  <a:ea typeface="+mn-ea"/>
                  <a:cs typeface="+mn-cs"/>
                </a:rPr>
                <a:t> Tool</a:t>
              </a:r>
              <a:r>
                <a:rPr kumimoji="0" lang="en-SE" sz="800" b="1" i="0" u="none" strike="noStrike" kern="1200" cap="none" spc="0" normalizeH="0" baseline="0" noProof="0">
                  <a:ln>
                    <a:noFill/>
                  </a:ln>
                  <a:solidFill>
                    <a:prstClr val="black">
                      <a:lumMod val="75000"/>
                      <a:lumOff val="25000"/>
                    </a:prstClr>
                  </a:solidFill>
                  <a:effectLst/>
                  <a:uLnTx/>
                  <a:uFillTx/>
                  <a:latin typeface="Ubuntu"/>
                  <a:ea typeface="+mn-ea"/>
                  <a:cs typeface="+mn-cs"/>
                </a:rPr>
                <a:t>s</a:t>
              </a:r>
              <a:endParaRPr kumimoji="0" lang="en-US" sz="800" b="0" i="0" u="none" strike="noStrike" kern="1200" cap="none" spc="0" normalizeH="0" baseline="0" noProof="0">
                <a:ln>
                  <a:noFill/>
                </a:ln>
                <a:solidFill>
                  <a:srgbClr val="FFFFFF"/>
                </a:solidFill>
                <a:effectLst/>
                <a:uLnTx/>
                <a:uFillTx/>
                <a:latin typeface="Ubuntu"/>
                <a:ea typeface="+mn-ea"/>
                <a:cs typeface="+mn-cs"/>
              </a:endParaRPr>
            </a:p>
          </p:txBody>
        </p:sp>
        <p:sp>
          <p:nvSpPr>
            <p:cNvPr id="1083" name="Rectangle: Rounded Corners 1082">
              <a:extLst>
                <a:ext uri="{FF2B5EF4-FFF2-40B4-BE49-F238E27FC236}">
                  <a16:creationId xmlns:a16="http://schemas.microsoft.com/office/drawing/2014/main" id="{5117B703-47B3-80AC-5A08-753A193F08A1}"/>
                </a:ext>
              </a:extLst>
            </p:cNvPr>
            <p:cNvSpPr/>
            <p:nvPr/>
          </p:nvSpPr>
          <p:spPr>
            <a:xfrm>
              <a:off x="473038" y="4478577"/>
              <a:ext cx="1493578" cy="34068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BUSINESS PROCESS AUTOMATIONS (Pilot)</a:t>
              </a:r>
              <a:endParaRPr kumimoji="0" lang="en-US" sz="800" b="0" i="0" u="none" strike="noStrike" kern="1200" cap="none" spc="0" normalizeH="0" baseline="0" noProof="0">
                <a:ln>
                  <a:noFill/>
                </a:ln>
                <a:solidFill>
                  <a:srgbClr val="FFFFFF"/>
                </a:solidFill>
                <a:effectLst/>
                <a:uLnTx/>
                <a:uFillTx/>
                <a:latin typeface="Ubuntu"/>
                <a:ea typeface="+mn-ea"/>
                <a:cs typeface="+mn-cs"/>
              </a:endParaRPr>
            </a:p>
          </p:txBody>
        </p:sp>
        <p:sp>
          <p:nvSpPr>
            <p:cNvPr id="1084" name="Rectangle: Rounded Corners 1083">
              <a:extLst>
                <a:ext uri="{FF2B5EF4-FFF2-40B4-BE49-F238E27FC236}">
                  <a16:creationId xmlns:a16="http://schemas.microsoft.com/office/drawing/2014/main" id="{A872C6FC-245F-6EEF-303C-8BDD08E6E1CF}"/>
                </a:ext>
              </a:extLst>
            </p:cNvPr>
            <p:cNvSpPr/>
            <p:nvPr/>
          </p:nvSpPr>
          <p:spPr>
            <a:xfrm>
              <a:off x="461145" y="4879771"/>
              <a:ext cx="1493578" cy="34068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800" b="0" i="0" u="none" strike="noStrike" kern="1200" cap="none" spc="0" normalizeH="0" baseline="0" noProof="0">
                  <a:ln>
                    <a:noFill/>
                  </a:ln>
                  <a:solidFill>
                    <a:srgbClr val="FFFFFF"/>
                  </a:solidFill>
                  <a:effectLst/>
                  <a:uLnTx/>
                  <a:uFillTx/>
                  <a:latin typeface="Ubuntu"/>
                  <a:ea typeface="+mn-ea"/>
                  <a:cs typeface="+mn-cs"/>
                </a:rPr>
                <a:t>CICD TOOLSET (Roadmap)</a:t>
              </a:r>
              <a:endParaRPr kumimoji="0" lang="en-US" sz="800" b="0" i="0" u="none" strike="noStrike" kern="1200" cap="none" spc="0" normalizeH="0" baseline="0" noProof="0">
                <a:ln>
                  <a:noFill/>
                </a:ln>
                <a:solidFill>
                  <a:srgbClr val="FFFFFF"/>
                </a:solidFill>
                <a:effectLst/>
                <a:uLnTx/>
                <a:uFillTx/>
                <a:latin typeface="Ubuntu"/>
                <a:ea typeface="+mn-ea"/>
                <a:cs typeface="+mn-cs"/>
              </a:endParaRPr>
            </a:p>
          </p:txBody>
        </p:sp>
        <p:sp>
          <p:nvSpPr>
            <p:cNvPr id="5" name="Rectangle: Rounded Corners 4">
              <a:extLst>
                <a:ext uri="{FF2B5EF4-FFF2-40B4-BE49-F238E27FC236}">
                  <a16:creationId xmlns:a16="http://schemas.microsoft.com/office/drawing/2014/main" id="{061CB29A-2BB0-A7E3-4DB2-4038B9278D64}"/>
                </a:ext>
              </a:extLst>
            </p:cNvPr>
            <p:cNvSpPr/>
            <p:nvPr/>
          </p:nvSpPr>
          <p:spPr>
            <a:xfrm>
              <a:off x="5871233" y="4878230"/>
              <a:ext cx="3034314" cy="329763"/>
            </a:xfrm>
            <a:prstGeom prst="round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800" b="1" i="0" u="none" strike="noStrike" kern="1200" cap="none" spc="0" normalizeH="0" baseline="0" noProof="0">
                  <a:ln>
                    <a:noFill/>
                  </a:ln>
                  <a:solidFill>
                    <a:srgbClr val="FFFFFF"/>
                  </a:solidFill>
                  <a:effectLst/>
                  <a:uLnTx/>
                  <a:uFillTx/>
                  <a:latin typeface="Ubuntu"/>
                  <a:ea typeface="+mn-ea"/>
                  <a:cs typeface="+mn-cs"/>
                </a:rPr>
                <a:t>Copa.do RTA</a:t>
              </a:r>
              <a:endParaRPr kumimoji="0" lang="en-US" sz="800" b="1" i="0" u="none" strike="noStrike" kern="1200" cap="none" spc="0" normalizeH="0" baseline="0" noProof="0">
                <a:ln>
                  <a:noFill/>
                </a:ln>
                <a:solidFill>
                  <a:srgbClr val="FFFFFF"/>
                </a:solidFill>
                <a:effectLst/>
                <a:uLnTx/>
                <a:uFillTx/>
                <a:latin typeface="Ubuntu"/>
                <a:ea typeface="+mn-ea"/>
                <a:cs typeface="+mn-cs"/>
              </a:endParaRPr>
            </a:p>
          </p:txBody>
        </p:sp>
      </p:grpSp>
      <p:pic>
        <p:nvPicPr>
          <p:cNvPr id="7" name="Picture 4" descr="Flow: How to learn Flow - SFDC Penguin">
            <a:extLst>
              <a:ext uri="{FF2B5EF4-FFF2-40B4-BE49-F238E27FC236}">
                <a16:creationId xmlns:a16="http://schemas.microsoft.com/office/drawing/2014/main" id="{29ED9C01-B261-08E7-83BB-FD9D59A552E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6881" y="4454624"/>
            <a:ext cx="244912" cy="244912"/>
          </a:xfrm>
          <a:prstGeom prst="round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21E15BA4-88F6-1C3D-622D-0185E231EC93}"/>
              </a:ext>
            </a:extLst>
          </p:cNvPr>
          <p:cNvPicPr>
            <a:picLocks noChangeAspect="1"/>
          </p:cNvPicPr>
          <p:nvPr/>
        </p:nvPicPr>
        <p:blipFill rotWithShape="1">
          <a:blip r:embed="rId5"/>
          <a:srcRect l="23125" t="3588" r="26147" b="40207"/>
          <a:stretch/>
        </p:blipFill>
        <p:spPr>
          <a:xfrm>
            <a:off x="517117" y="5311486"/>
            <a:ext cx="250561" cy="244912"/>
          </a:xfrm>
          <a:prstGeom prst="roundRect">
            <a:avLst/>
          </a:prstGeom>
        </p:spPr>
      </p:pic>
      <p:pic>
        <p:nvPicPr>
          <p:cNvPr id="9" name="Picture 2" descr="Copado DevOps Platform for Salesforce">
            <a:extLst>
              <a:ext uri="{FF2B5EF4-FFF2-40B4-BE49-F238E27FC236}">
                <a16:creationId xmlns:a16="http://schemas.microsoft.com/office/drawing/2014/main" id="{6978E117-47FB-733D-D8AB-E67340D4B77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6881" y="4883444"/>
            <a:ext cx="240797" cy="2266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30697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digital artwork representing Generative AI in the Software Lifecycle of Salesforce Projects. The image shows a futuristic, abstract representation of the software development cycle, with Salesforce logos and symbols integrated into the design. Visual elements include coding screens, AI-generated graphs, and flowcharts. The AI component is symbolized by a stylized, digital brain or neural network, showcasing its involvement in various stages like design, development, testing, and deployment. The color scheme is a mix of Salesforce blue and vibrant tech-inspired colors, creating a dynamic and tech-savvy atmosphere.">
            <a:extLst>
              <a:ext uri="{FF2B5EF4-FFF2-40B4-BE49-F238E27FC236}">
                <a16:creationId xmlns:a16="http://schemas.microsoft.com/office/drawing/2014/main" id="{3D7ED94E-F77C-30BC-C328-60C197BE90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EB3DF2A9-2B6F-BDDB-74D8-D97B322C1893}"/>
              </a:ext>
            </a:extLst>
          </p:cNvPr>
          <p:cNvSpPr/>
          <p:nvPr/>
        </p:nvSpPr>
        <p:spPr>
          <a:xfrm>
            <a:off x="20" y="0"/>
            <a:ext cx="12191980" cy="6858000"/>
          </a:xfrm>
          <a:prstGeom prst="rect">
            <a:avLst/>
          </a:prstGeom>
          <a:gradFill>
            <a:gsLst>
              <a:gs pos="0">
                <a:schemeClr val="tx1"/>
              </a:gs>
              <a:gs pos="86000">
                <a:schemeClr val="tx1">
                  <a:alpha val="5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1078" name="Title 2">
            <a:extLst>
              <a:ext uri="{FF2B5EF4-FFF2-40B4-BE49-F238E27FC236}">
                <a16:creationId xmlns:a16="http://schemas.microsoft.com/office/drawing/2014/main" id="{030B85F3-DADC-B47E-D112-D8E4E391763C}"/>
              </a:ext>
            </a:extLst>
          </p:cNvPr>
          <p:cNvSpPr>
            <a:spLocks noGrp="1"/>
          </p:cNvSpPr>
          <p:nvPr>
            <p:ph type="title"/>
          </p:nvPr>
        </p:nvSpPr>
        <p:spPr>
          <a:xfrm>
            <a:off x="404813" y="136064"/>
            <a:ext cx="11105864" cy="716711"/>
          </a:xfrm>
        </p:spPr>
        <p:txBody>
          <a:bodyPr/>
          <a:lstStyle/>
          <a:p>
            <a:r>
              <a:rPr lang="en-IN"/>
              <a:t>Leveraging Gen AI across </a:t>
            </a:r>
            <a:r>
              <a:rPr lang="en-IN">
                <a:solidFill>
                  <a:schemeClr val="accent5">
                    <a:lumMod val="60000"/>
                    <a:lumOff val="40000"/>
                  </a:schemeClr>
                </a:solidFill>
              </a:rPr>
              <a:t>salesforce</a:t>
            </a:r>
            <a:r>
              <a:rPr lang="en-IN"/>
              <a:t> Software lifecycle</a:t>
            </a:r>
            <a:endParaRPr lang="en-US"/>
          </a:p>
        </p:txBody>
      </p:sp>
      <p:cxnSp>
        <p:nvCxnSpPr>
          <p:cNvPr id="1089" name="Straight Connector 1088">
            <a:extLst>
              <a:ext uri="{FF2B5EF4-FFF2-40B4-BE49-F238E27FC236}">
                <a16:creationId xmlns:a16="http://schemas.microsoft.com/office/drawing/2014/main" id="{C2B1C825-F3E3-82CE-7957-F0BCA7FEF957}"/>
              </a:ext>
            </a:extLst>
          </p:cNvPr>
          <p:cNvCxnSpPr>
            <a:cxnSpLocks/>
          </p:cNvCxnSpPr>
          <p:nvPr/>
        </p:nvCxnSpPr>
        <p:spPr>
          <a:xfrm flipV="1">
            <a:off x="691657" y="2900786"/>
            <a:ext cx="11376804" cy="0"/>
          </a:xfrm>
          <a:prstGeom prst="line">
            <a:avLst/>
          </a:prstGeom>
          <a:noFill/>
          <a:ln w="6350" cap="flat" cmpd="sng" algn="ctr">
            <a:solidFill>
              <a:schemeClr val="accent5">
                <a:lumMod val="60000"/>
                <a:lumOff val="40000"/>
              </a:schemeClr>
            </a:solidFill>
            <a:prstDash val="solid"/>
            <a:headEnd type="oval" w="med" len="med"/>
            <a:tailEnd type="oval" w="med" len="med"/>
          </a:ln>
          <a:effectLst/>
        </p:spPr>
      </p:cxnSp>
      <p:sp>
        <p:nvSpPr>
          <p:cNvPr id="1090" name="Chevron 84">
            <a:extLst>
              <a:ext uri="{FF2B5EF4-FFF2-40B4-BE49-F238E27FC236}">
                <a16:creationId xmlns:a16="http://schemas.microsoft.com/office/drawing/2014/main" id="{E61E8413-6266-E2ED-CA0E-8DFE5C492FF4}"/>
              </a:ext>
            </a:extLst>
          </p:cNvPr>
          <p:cNvSpPr/>
          <p:nvPr/>
        </p:nvSpPr>
        <p:spPr>
          <a:xfrm>
            <a:off x="1948154" y="1061850"/>
            <a:ext cx="1527048" cy="457200"/>
          </a:xfrm>
          <a:prstGeom prst="chevron">
            <a:avLst/>
          </a:prstGeom>
          <a:solidFill>
            <a:srgbClr val="2B093D">
              <a:alpha val="89007"/>
            </a:srgbClr>
          </a:solidFill>
          <a:ln w="3175" cap="flat" cmpd="sng" algn="ctr">
            <a:solidFill>
              <a:schemeClr val="accent4">
                <a:lumMod val="25000"/>
                <a:lumOff val="75000"/>
              </a:schemeClr>
            </a:solidFill>
            <a:prstDash val="solid"/>
          </a:ln>
          <a:effectLst/>
        </p:spPr>
        <p:txBody>
          <a:bodyPr wrap="none" lIns="144000" rIns="0"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200" b="1" i="0" u="none" strike="noStrike" kern="0" cap="none" spc="-20" normalizeH="0" baseline="0" noProof="0">
                <a:ln>
                  <a:noFill/>
                </a:ln>
                <a:solidFill>
                  <a:prstClr val="white"/>
                </a:solidFill>
                <a:effectLst/>
                <a:uLnTx/>
                <a:uFillTx/>
                <a:latin typeface="Ubuntu" panose="020B0504030602030204" pitchFamily="34" charset="0"/>
                <a:ea typeface="+mn-ea"/>
                <a:cs typeface="+mn-cs"/>
              </a:rPr>
              <a:t>Design</a:t>
            </a:r>
          </a:p>
        </p:txBody>
      </p:sp>
      <p:sp>
        <p:nvSpPr>
          <p:cNvPr id="1091" name="Chevron 85">
            <a:extLst>
              <a:ext uri="{FF2B5EF4-FFF2-40B4-BE49-F238E27FC236}">
                <a16:creationId xmlns:a16="http://schemas.microsoft.com/office/drawing/2014/main" id="{47CA2D63-31B7-D316-A7AD-3E8399571498}"/>
              </a:ext>
            </a:extLst>
          </p:cNvPr>
          <p:cNvSpPr/>
          <p:nvPr/>
        </p:nvSpPr>
        <p:spPr>
          <a:xfrm>
            <a:off x="3288304" y="1061850"/>
            <a:ext cx="1527048" cy="457200"/>
          </a:xfrm>
          <a:prstGeom prst="chevron">
            <a:avLst/>
          </a:prstGeom>
          <a:solidFill>
            <a:srgbClr val="15ABDB">
              <a:alpha val="89007"/>
            </a:srgbClr>
          </a:solidFill>
          <a:ln w="3175" cap="flat" cmpd="sng" algn="ctr">
            <a:solidFill>
              <a:schemeClr val="accent4">
                <a:lumMod val="25000"/>
                <a:lumOff val="75000"/>
              </a:schemeClr>
            </a:solidFill>
            <a:prstDash val="solid"/>
          </a:ln>
          <a:effectLst/>
        </p:spPr>
        <p:txBody>
          <a:bodyPr wrap="none" lIns="144000" rIns="0"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200" b="1" i="0" u="none" strike="noStrike" kern="0" cap="none" spc="-20" normalizeH="0" baseline="0" noProof="0">
                <a:ln>
                  <a:noFill/>
                </a:ln>
                <a:solidFill>
                  <a:prstClr val="white"/>
                </a:solidFill>
                <a:effectLst/>
                <a:uLnTx/>
                <a:uFillTx/>
                <a:latin typeface="Ubuntu" panose="020B0504030602030204" pitchFamily="34" charset="0"/>
                <a:ea typeface="+mn-ea"/>
                <a:cs typeface="+mn-cs"/>
              </a:rPr>
              <a:t>Coding</a:t>
            </a:r>
          </a:p>
        </p:txBody>
      </p:sp>
      <p:sp>
        <p:nvSpPr>
          <p:cNvPr id="1092" name="Chevron 86">
            <a:extLst>
              <a:ext uri="{FF2B5EF4-FFF2-40B4-BE49-F238E27FC236}">
                <a16:creationId xmlns:a16="http://schemas.microsoft.com/office/drawing/2014/main" id="{C162723A-5969-65CD-517C-BBEF5F38F2A6}"/>
              </a:ext>
            </a:extLst>
          </p:cNvPr>
          <p:cNvSpPr/>
          <p:nvPr/>
        </p:nvSpPr>
        <p:spPr>
          <a:xfrm>
            <a:off x="4628454" y="1061850"/>
            <a:ext cx="1527048" cy="457200"/>
          </a:xfrm>
          <a:prstGeom prst="chevron">
            <a:avLst/>
          </a:prstGeom>
          <a:solidFill>
            <a:srgbClr val="0070AD">
              <a:alpha val="89007"/>
            </a:srgbClr>
          </a:solidFill>
          <a:ln w="3175" cap="flat" cmpd="sng" algn="ctr">
            <a:solidFill>
              <a:schemeClr val="accent4">
                <a:lumMod val="25000"/>
                <a:lumOff val="75000"/>
              </a:schemeClr>
            </a:solidFill>
            <a:prstDash val="solid"/>
          </a:ln>
          <a:effectLst/>
        </p:spPr>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200" b="1" i="0" u="none" strike="noStrike" kern="0" cap="none" spc="-20" normalizeH="0" baseline="0" noProof="0">
                <a:ln>
                  <a:noFill/>
                </a:ln>
                <a:solidFill>
                  <a:prstClr val="white"/>
                </a:solidFill>
                <a:effectLst/>
                <a:uLnTx/>
                <a:uFillTx/>
                <a:latin typeface="Ubuntu" panose="020B0504030602030204" pitchFamily="34" charset="0"/>
                <a:ea typeface="+mn-ea"/>
                <a:cs typeface="+mn-cs"/>
              </a:rPr>
              <a:t>Unit Test</a:t>
            </a:r>
          </a:p>
        </p:txBody>
      </p:sp>
      <p:sp>
        <p:nvSpPr>
          <p:cNvPr id="1093" name="Chevron 87">
            <a:extLst>
              <a:ext uri="{FF2B5EF4-FFF2-40B4-BE49-F238E27FC236}">
                <a16:creationId xmlns:a16="http://schemas.microsoft.com/office/drawing/2014/main" id="{DFA11584-4A7E-34AF-B7D3-14DC517B7D7F}"/>
              </a:ext>
            </a:extLst>
          </p:cNvPr>
          <p:cNvSpPr/>
          <p:nvPr/>
        </p:nvSpPr>
        <p:spPr>
          <a:xfrm>
            <a:off x="5968604" y="1061850"/>
            <a:ext cx="1527048" cy="457200"/>
          </a:xfrm>
          <a:prstGeom prst="chevron">
            <a:avLst/>
          </a:prstGeom>
          <a:solidFill>
            <a:srgbClr val="2B093D">
              <a:alpha val="89007"/>
            </a:srgbClr>
          </a:solidFill>
          <a:ln w="3175" cap="flat" cmpd="sng" algn="ctr">
            <a:solidFill>
              <a:schemeClr val="accent4">
                <a:lumMod val="25000"/>
                <a:lumOff val="75000"/>
              </a:schemeClr>
            </a:solidFill>
            <a:prstDash val="solid"/>
          </a:ln>
          <a:effectLst/>
        </p:spPr>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Ubuntu" panose="020B0504030602030204" pitchFamily="34" charset="0"/>
                <a:ea typeface="+mn-ea"/>
                <a:cs typeface="+mn-cs"/>
              </a:rPr>
              <a:t>Code Quality</a:t>
            </a:r>
          </a:p>
        </p:txBody>
      </p:sp>
      <p:sp>
        <p:nvSpPr>
          <p:cNvPr id="1094" name="Chevron 88">
            <a:extLst>
              <a:ext uri="{FF2B5EF4-FFF2-40B4-BE49-F238E27FC236}">
                <a16:creationId xmlns:a16="http://schemas.microsoft.com/office/drawing/2014/main" id="{A0BC68CE-3A2E-C3CD-C627-5754F60414AF}"/>
              </a:ext>
            </a:extLst>
          </p:cNvPr>
          <p:cNvSpPr/>
          <p:nvPr/>
        </p:nvSpPr>
        <p:spPr>
          <a:xfrm>
            <a:off x="7308754" y="1061850"/>
            <a:ext cx="1527048" cy="457200"/>
          </a:xfrm>
          <a:prstGeom prst="chevron">
            <a:avLst/>
          </a:prstGeom>
          <a:solidFill>
            <a:srgbClr val="15ABDB">
              <a:alpha val="89007"/>
            </a:srgbClr>
          </a:solidFill>
          <a:ln w="3175" cap="flat" cmpd="sng" algn="ctr">
            <a:solidFill>
              <a:schemeClr val="accent4">
                <a:lumMod val="25000"/>
                <a:lumOff val="75000"/>
              </a:schemeClr>
            </a:solidFill>
            <a:prstDash val="solid"/>
          </a:ln>
          <a:effectLst/>
        </p:spPr>
        <p:txBody>
          <a:bodyPr lIns="0" rIns="0"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200" b="1" i="0" u="none" strike="noStrike" kern="0" cap="none" spc="-20" normalizeH="0" baseline="0" noProof="0">
                <a:ln>
                  <a:noFill/>
                </a:ln>
                <a:solidFill>
                  <a:prstClr val="white"/>
                </a:solidFill>
                <a:effectLst/>
                <a:uLnTx/>
                <a:uFillTx/>
                <a:latin typeface="Ubuntu" panose="020B0504030602030204" pitchFamily="34" charset="0"/>
                <a:ea typeface="+mn-ea"/>
                <a:cs typeface="+mn-cs"/>
              </a:rPr>
              <a:t>Test</a:t>
            </a:r>
          </a:p>
        </p:txBody>
      </p:sp>
      <p:sp>
        <p:nvSpPr>
          <p:cNvPr id="1095" name="Chevron 89">
            <a:extLst>
              <a:ext uri="{FF2B5EF4-FFF2-40B4-BE49-F238E27FC236}">
                <a16:creationId xmlns:a16="http://schemas.microsoft.com/office/drawing/2014/main" id="{523ED965-2981-0C83-5A94-C75D05F63063}"/>
              </a:ext>
            </a:extLst>
          </p:cNvPr>
          <p:cNvSpPr/>
          <p:nvPr/>
        </p:nvSpPr>
        <p:spPr>
          <a:xfrm>
            <a:off x="8648904" y="1061850"/>
            <a:ext cx="1527048" cy="457200"/>
          </a:xfrm>
          <a:prstGeom prst="chevron">
            <a:avLst/>
          </a:prstGeom>
          <a:solidFill>
            <a:srgbClr val="2B093D">
              <a:alpha val="89007"/>
            </a:srgbClr>
          </a:solidFill>
          <a:ln w="3175" cap="flat" cmpd="sng" algn="ctr">
            <a:solidFill>
              <a:schemeClr val="accent4">
                <a:lumMod val="25000"/>
                <a:lumOff val="75000"/>
              </a:schemeClr>
            </a:solidFill>
            <a:prstDash val="solid"/>
          </a:ln>
          <a:effectLst/>
        </p:spPr>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Ubuntu" panose="020B0504030602030204" pitchFamily="34" charset="0"/>
                <a:ea typeface="+mn-ea"/>
                <a:cs typeface="+mn-cs"/>
              </a:rPr>
              <a:t>Deploy</a:t>
            </a:r>
          </a:p>
        </p:txBody>
      </p:sp>
      <p:sp>
        <p:nvSpPr>
          <p:cNvPr id="1096" name="Pentagon 83">
            <a:extLst>
              <a:ext uri="{FF2B5EF4-FFF2-40B4-BE49-F238E27FC236}">
                <a16:creationId xmlns:a16="http://schemas.microsoft.com/office/drawing/2014/main" id="{BA65EB34-1401-903B-CD1D-0FDC6179BD13}"/>
              </a:ext>
            </a:extLst>
          </p:cNvPr>
          <p:cNvSpPr/>
          <p:nvPr/>
        </p:nvSpPr>
        <p:spPr>
          <a:xfrm>
            <a:off x="608004" y="1061850"/>
            <a:ext cx="1527048" cy="457200"/>
          </a:xfrm>
          <a:prstGeom prst="homePlate">
            <a:avLst/>
          </a:prstGeom>
          <a:solidFill>
            <a:srgbClr val="0070AD">
              <a:alpha val="89007"/>
            </a:srgbClr>
          </a:solidFill>
          <a:ln w="3175" cap="flat" cmpd="sng" algn="ctr">
            <a:solidFill>
              <a:schemeClr val="accent4">
                <a:lumMod val="25000"/>
                <a:lumOff val="75000"/>
              </a:schemeClr>
            </a:solidFill>
            <a:prstDash val="solid"/>
          </a:ln>
          <a:effectLst/>
        </p:spPr>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Ubuntu" panose="020B0504030602030204" pitchFamily="34" charset="0"/>
                <a:ea typeface="+mn-ea"/>
                <a:cs typeface="+mn-cs"/>
              </a:rPr>
              <a:t>Discovery</a:t>
            </a:r>
          </a:p>
        </p:txBody>
      </p:sp>
      <p:sp>
        <p:nvSpPr>
          <p:cNvPr id="1097" name="TextBox 1096">
            <a:extLst>
              <a:ext uri="{FF2B5EF4-FFF2-40B4-BE49-F238E27FC236}">
                <a16:creationId xmlns:a16="http://schemas.microsoft.com/office/drawing/2014/main" id="{85243D4F-315B-4303-951A-196C98204A46}"/>
              </a:ext>
            </a:extLst>
          </p:cNvPr>
          <p:cNvSpPr txBox="1"/>
          <p:nvPr/>
        </p:nvSpPr>
        <p:spPr>
          <a:xfrm>
            <a:off x="608004" y="1539370"/>
            <a:ext cx="1290360" cy="1075241"/>
          </a:xfrm>
          <a:prstGeom prst="rect">
            <a:avLst/>
          </a:prstGeom>
          <a:solidFill>
            <a:srgbClr val="0070AD">
              <a:alpha val="70000"/>
            </a:srgbClr>
          </a:solidFill>
          <a:ln w="3175">
            <a:noFill/>
          </a:ln>
          <a:effectLst/>
        </p:spPr>
        <p:txBody>
          <a:bodyPr wrap="square" rtlCol="0" anchor="t">
            <a:noAutofit/>
          </a:bodyPr>
          <a:lstStyle/>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rPr>
              <a:t>User Stories Creation</a:t>
            </a:r>
          </a:p>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rPr>
              <a:t>PoC &amp; Architecture Analysis</a:t>
            </a:r>
          </a:p>
        </p:txBody>
      </p:sp>
      <p:sp>
        <p:nvSpPr>
          <p:cNvPr id="1098" name="TextBox 1097">
            <a:extLst>
              <a:ext uri="{FF2B5EF4-FFF2-40B4-BE49-F238E27FC236}">
                <a16:creationId xmlns:a16="http://schemas.microsoft.com/office/drawing/2014/main" id="{1F686EC0-D8F4-A73F-1351-3B6C39F42AC4}"/>
              </a:ext>
            </a:extLst>
          </p:cNvPr>
          <p:cNvSpPr txBox="1"/>
          <p:nvPr/>
        </p:nvSpPr>
        <p:spPr>
          <a:xfrm>
            <a:off x="3297865" y="1540130"/>
            <a:ext cx="1290360" cy="1075241"/>
          </a:xfrm>
          <a:prstGeom prst="rect">
            <a:avLst/>
          </a:prstGeom>
          <a:solidFill>
            <a:srgbClr val="00B0F0">
              <a:alpha val="70000"/>
            </a:srgbClr>
          </a:solidFill>
          <a:ln w="3175">
            <a:noFill/>
          </a:ln>
          <a:effectLst/>
        </p:spPr>
        <p:txBody>
          <a:bodyPr wrap="square" rtlCol="0" anchor="t">
            <a:noAutofit/>
          </a:bodyPr>
          <a:lstStyle/>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rPr>
              <a:t>Code Generation</a:t>
            </a:r>
          </a:p>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rPr>
              <a:t>Code Review</a:t>
            </a:r>
          </a:p>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rPr>
              <a:t>Code Refactoring</a:t>
            </a:r>
          </a:p>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rPr>
              <a:t>Debugging</a:t>
            </a:r>
          </a:p>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rPr>
              <a:t>Test Class generation</a:t>
            </a:r>
          </a:p>
        </p:txBody>
      </p:sp>
      <p:sp>
        <p:nvSpPr>
          <p:cNvPr id="1099" name="TextBox 1098">
            <a:extLst>
              <a:ext uri="{FF2B5EF4-FFF2-40B4-BE49-F238E27FC236}">
                <a16:creationId xmlns:a16="http://schemas.microsoft.com/office/drawing/2014/main" id="{9CE1563E-CC83-78D2-11E2-4AC4ACFDC723}"/>
              </a:ext>
            </a:extLst>
          </p:cNvPr>
          <p:cNvSpPr txBox="1"/>
          <p:nvPr/>
        </p:nvSpPr>
        <p:spPr>
          <a:xfrm>
            <a:off x="4635625" y="1540130"/>
            <a:ext cx="1290360" cy="1075241"/>
          </a:xfrm>
          <a:prstGeom prst="rect">
            <a:avLst/>
          </a:prstGeom>
          <a:solidFill>
            <a:srgbClr val="0070AD">
              <a:alpha val="70000"/>
            </a:srgbClr>
          </a:solidFill>
          <a:ln w="3175">
            <a:noFill/>
          </a:ln>
          <a:effectLst/>
        </p:spPr>
        <p:txBody>
          <a:bodyPr wrap="square" rtlCol="0" anchor="t">
            <a:noAutofit/>
          </a:bodyPr>
          <a:lstStyle/>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rPr>
              <a:t>Create Unit test cases</a:t>
            </a:r>
          </a:p>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rPr>
              <a:t>Test data preparation</a:t>
            </a:r>
          </a:p>
          <a:p>
            <a:pPr marL="0" marR="0" lvl="0" indent="0" algn="l" defTabSz="957756" rtl="0" eaLnBrk="1" fontAlgn="auto" latinLnBrk="0" hangingPunct="1">
              <a:lnSpc>
                <a:spcPct val="100000"/>
              </a:lnSpc>
              <a:spcBef>
                <a:spcPts val="0"/>
              </a:spcBef>
              <a:spcAft>
                <a:spcPts val="0"/>
              </a:spcAft>
              <a:buClrTx/>
              <a:buSzTx/>
              <a:buFontTx/>
              <a:buNone/>
              <a:tabLst/>
              <a:defRPr/>
            </a:pPr>
            <a:br>
              <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rPr>
            </a:br>
            <a:endPar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endParaRPr>
          </a:p>
        </p:txBody>
      </p:sp>
      <p:sp>
        <p:nvSpPr>
          <p:cNvPr id="1100" name="TextBox 1099">
            <a:extLst>
              <a:ext uri="{FF2B5EF4-FFF2-40B4-BE49-F238E27FC236}">
                <a16:creationId xmlns:a16="http://schemas.microsoft.com/office/drawing/2014/main" id="{1325E431-31A0-0EE8-14B4-F250B7E0F3BE}"/>
              </a:ext>
            </a:extLst>
          </p:cNvPr>
          <p:cNvSpPr txBox="1"/>
          <p:nvPr/>
        </p:nvSpPr>
        <p:spPr>
          <a:xfrm>
            <a:off x="5973385" y="1540130"/>
            <a:ext cx="1290360" cy="1075241"/>
          </a:xfrm>
          <a:prstGeom prst="rect">
            <a:avLst/>
          </a:prstGeom>
          <a:solidFill>
            <a:srgbClr val="2B093D">
              <a:alpha val="70000"/>
            </a:srgbClr>
          </a:solidFill>
          <a:ln w="3175">
            <a:noFill/>
          </a:ln>
          <a:effectLst/>
        </p:spPr>
        <p:txBody>
          <a:bodyPr wrap="square" rtlCol="0" anchor="t">
            <a:noAutofit/>
          </a:bodyPr>
          <a:lstStyle/>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rPr>
              <a:t>Code Review</a:t>
            </a:r>
          </a:p>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rPr>
              <a:t>Auto Code Documentation</a:t>
            </a:r>
          </a:p>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rPr>
              <a:t>Code Analysis</a:t>
            </a:r>
          </a:p>
        </p:txBody>
      </p:sp>
      <p:sp>
        <p:nvSpPr>
          <p:cNvPr id="1101" name="TextBox 1100">
            <a:extLst>
              <a:ext uri="{FF2B5EF4-FFF2-40B4-BE49-F238E27FC236}">
                <a16:creationId xmlns:a16="http://schemas.microsoft.com/office/drawing/2014/main" id="{E1E8D3D8-6186-C4AD-58AA-42401F9C75D5}"/>
              </a:ext>
            </a:extLst>
          </p:cNvPr>
          <p:cNvSpPr txBox="1"/>
          <p:nvPr/>
        </p:nvSpPr>
        <p:spPr>
          <a:xfrm>
            <a:off x="7311145" y="1540130"/>
            <a:ext cx="1290360" cy="1075241"/>
          </a:xfrm>
          <a:prstGeom prst="rect">
            <a:avLst/>
          </a:prstGeom>
          <a:solidFill>
            <a:srgbClr val="00B0F0">
              <a:alpha val="70000"/>
            </a:srgbClr>
          </a:solidFill>
          <a:ln w="3175">
            <a:noFill/>
          </a:ln>
          <a:effectLst/>
        </p:spPr>
        <p:txBody>
          <a:bodyPr wrap="square" rtlCol="0" anchor="t">
            <a:noAutofit/>
          </a:bodyPr>
          <a:lstStyle/>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rPr>
              <a:t>Test Case Scenarios</a:t>
            </a:r>
          </a:p>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rPr>
              <a:t>Test Cases</a:t>
            </a:r>
          </a:p>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rPr>
              <a:t>Test Data</a:t>
            </a:r>
          </a:p>
        </p:txBody>
      </p:sp>
      <p:sp>
        <p:nvSpPr>
          <p:cNvPr id="1102" name="TextBox 1101">
            <a:extLst>
              <a:ext uri="{FF2B5EF4-FFF2-40B4-BE49-F238E27FC236}">
                <a16:creationId xmlns:a16="http://schemas.microsoft.com/office/drawing/2014/main" id="{27A43D97-A391-E44F-64E3-946361B17577}"/>
              </a:ext>
            </a:extLst>
          </p:cNvPr>
          <p:cNvSpPr txBox="1"/>
          <p:nvPr/>
        </p:nvSpPr>
        <p:spPr>
          <a:xfrm>
            <a:off x="8648904" y="1540890"/>
            <a:ext cx="1290360" cy="1075241"/>
          </a:xfrm>
          <a:prstGeom prst="rect">
            <a:avLst/>
          </a:prstGeom>
          <a:solidFill>
            <a:srgbClr val="2B093D">
              <a:alpha val="70000"/>
            </a:srgbClr>
          </a:solidFill>
          <a:ln w="3175">
            <a:noFill/>
          </a:ln>
          <a:effectLst/>
        </p:spPr>
        <p:txBody>
          <a:bodyPr wrap="square" rtlCol="0" anchor="t">
            <a:noAutofit/>
          </a:bodyPr>
          <a:lstStyle/>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rPr>
              <a:t>Copado AI Companion for DevOps*</a:t>
            </a:r>
          </a:p>
        </p:txBody>
      </p:sp>
      <p:sp>
        <p:nvSpPr>
          <p:cNvPr id="1103" name="TextBox 1102">
            <a:extLst>
              <a:ext uri="{FF2B5EF4-FFF2-40B4-BE49-F238E27FC236}">
                <a16:creationId xmlns:a16="http://schemas.microsoft.com/office/drawing/2014/main" id="{47B2F75A-77C2-C546-7485-DB15A5A30C3B}"/>
              </a:ext>
            </a:extLst>
          </p:cNvPr>
          <p:cNvSpPr txBox="1"/>
          <p:nvPr/>
        </p:nvSpPr>
        <p:spPr>
          <a:xfrm>
            <a:off x="1960105" y="1539370"/>
            <a:ext cx="1290360" cy="1075241"/>
          </a:xfrm>
          <a:prstGeom prst="rect">
            <a:avLst/>
          </a:prstGeom>
          <a:solidFill>
            <a:srgbClr val="2B093D">
              <a:alpha val="70000"/>
            </a:srgbClr>
          </a:solidFill>
          <a:ln w="3175">
            <a:noFill/>
          </a:ln>
          <a:effectLst/>
        </p:spPr>
        <p:txBody>
          <a:bodyPr wrap="square" rtlCol="0" anchor="t">
            <a:noAutofit/>
          </a:bodyPr>
          <a:lstStyle/>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rPr>
              <a:t>Experience Cloud Design</a:t>
            </a:r>
          </a:p>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rPr>
              <a:t>Component Design</a:t>
            </a:r>
          </a:p>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rPr>
              <a:t>Technical Design</a:t>
            </a:r>
          </a:p>
        </p:txBody>
      </p:sp>
      <p:sp>
        <p:nvSpPr>
          <p:cNvPr id="1104" name="Arrow: Pentagon 257">
            <a:extLst>
              <a:ext uri="{FF2B5EF4-FFF2-40B4-BE49-F238E27FC236}">
                <a16:creationId xmlns:a16="http://schemas.microsoft.com/office/drawing/2014/main" id="{DF7F2B54-96EE-85CA-2356-E659F50E6BF5}"/>
              </a:ext>
            </a:extLst>
          </p:cNvPr>
          <p:cNvSpPr/>
          <p:nvPr/>
        </p:nvSpPr>
        <p:spPr>
          <a:xfrm>
            <a:off x="9989056" y="1061850"/>
            <a:ext cx="1521621" cy="457200"/>
          </a:xfrm>
          <a:prstGeom prst="chevron">
            <a:avLst/>
          </a:prstGeom>
          <a:solidFill>
            <a:srgbClr val="0070AD">
              <a:alpha val="89007"/>
            </a:srgbClr>
          </a:solidFill>
          <a:ln w="3175" cap="flat" cmpd="sng" algn="ctr">
            <a:solidFill>
              <a:schemeClr val="accent4">
                <a:lumMod val="25000"/>
                <a:lumOff val="75000"/>
              </a:schemeClr>
            </a:solidFill>
            <a:prstDash val="solid"/>
          </a:ln>
          <a:effectLst/>
        </p:spPr>
        <p:txBody>
          <a:bodyPr vert="horz"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Ubuntu" panose="020B0504030602030204" pitchFamily="34" charset="0"/>
                <a:ea typeface="+mn-ea"/>
                <a:cs typeface="+mn-cs"/>
              </a:rPr>
              <a:t>Monitor</a:t>
            </a:r>
          </a:p>
        </p:txBody>
      </p:sp>
      <p:sp>
        <p:nvSpPr>
          <p:cNvPr id="1105" name="TextBox 1104">
            <a:extLst>
              <a:ext uri="{FF2B5EF4-FFF2-40B4-BE49-F238E27FC236}">
                <a16:creationId xmlns:a16="http://schemas.microsoft.com/office/drawing/2014/main" id="{4588F991-D618-03E8-D27B-7248F99C8BB3}"/>
              </a:ext>
            </a:extLst>
          </p:cNvPr>
          <p:cNvSpPr txBox="1"/>
          <p:nvPr/>
        </p:nvSpPr>
        <p:spPr>
          <a:xfrm>
            <a:off x="9989056" y="1537332"/>
            <a:ext cx="1306368" cy="1074753"/>
          </a:xfrm>
          <a:prstGeom prst="rect">
            <a:avLst/>
          </a:prstGeom>
          <a:solidFill>
            <a:srgbClr val="0070AD">
              <a:alpha val="70000"/>
            </a:srgbClr>
          </a:solidFill>
          <a:ln w="3175">
            <a:noFill/>
          </a:ln>
          <a:effectLst/>
        </p:spPr>
        <p:txBody>
          <a:bodyPr wrap="square" rtlCol="0" anchor="t">
            <a:noAutofit/>
          </a:bodyPr>
          <a:lstStyle/>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rPr>
              <a:t>Log Analysis</a:t>
            </a:r>
          </a:p>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0" cap="none" spc="0" normalizeH="0" baseline="0" noProof="0">
              <a:ln>
                <a:noFill/>
              </a:ln>
              <a:solidFill>
                <a:srgbClr val="FFFFFF">
                  <a:lumMod val="95000"/>
                </a:srgbClr>
              </a:solidFill>
              <a:effectLst/>
              <a:uLnTx/>
              <a:uFillTx/>
              <a:latin typeface="Ubuntu Light" panose="020B0304030602030204" pitchFamily="34" charset="0"/>
              <a:ea typeface="+mn-ea"/>
              <a:cs typeface="+mn-cs"/>
            </a:endParaRPr>
          </a:p>
        </p:txBody>
      </p:sp>
      <p:sp>
        <p:nvSpPr>
          <p:cNvPr id="1106" name="TextBox 1105">
            <a:extLst>
              <a:ext uri="{FF2B5EF4-FFF2-40B4-BE49-F238E27FC236}">
                <a16:creationId xmlns:a16="http://schemas.microsoft.com/office/drawing/2014/main" id="{E4EEE512-136F-8182-EE82-8DFF8E62693F}"/>
              </a:ext>
            </a:extLst>
          </p:cNvPr>
          <p:cNvSpPr txBox="1"/>
          <p:nvPr/>
        </p:nvSpPr>
        <p:spPr>
          <a:xfrm rot="16200000">
            <a:off x="-517512" y="1683076"/>
            <a:ext cx="1550232" cy="307777"/>
          </a:xfrm>
          <a:prstGeom prst="rect">
            <a:avLst/>
          </a:prstGeom>
          <a:noFill/>
          <a:effectLst/>
        </p:spPr>
        <p:txBody>
          <a:bodyPr wrap="square" rtlCol="0">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F878A">
                    <a:lumMod val="60000"/>
                    <a:lumOff val="40000"/>
                  </a:srgbClr>
                </a:solidFill>
                <a:effectLst/>
                <a:uLnTx/>
                <a:uFillTx/>
                <a:latin typeface="Ubuntu" panose="020B0504030602030204" pitchFamily="34" charset="0"/>
                <a:ea typeface="+mn-ea"/>
                <a:cs typeface="+mn-cs"/>
              </a:rPr>
              <a:t>Process</a:t>
            </a:r>
          </a:p>
        </p:txBody>
      </p:sp>
      <p:cxnSp>
        <p:nvCxnSpPr>
          <p:cNvPr id="1107" name="Straight Connector 1106">
            <a:extLst>
              <a:ext uri="{FF2B5EF4-FFF2-40B4-BE49-F238E27FC236}">
                <a16:creationId xmlns:a16="http://schemas.microsoft.com/office/drawing/2014/main" id="{ECDBC54F-8B3C-DD89-3E65-43B499116B84}"/>
              </a:ext>
            </a:extLst>
          </p:cNvPr>
          <p:cNvCxnSpPr>
            <a:cxnSpLocks/>
          </p:cNvCxnSpPr>
          <p:nvPr/>
        </p:nvCxnSpPr>
        <p:spPr>
          <a:xfrm flipV="1">
            <a:off x="438253" y="1084024"/>
            <a:ext cx="0" cy="1501227"/>
          </a:xfrm>
          <a:prstGeom prst="line">
            <a:avLst/>
          </a:prstGeom>
          <a:noFill/>
          <a:ln w="25400" cap="flat" cmpd="sng" algn="ctr">
            <a:solidFill>
              <a:schemeClr val="accent5">
                <a:lumMod val="60000"/>
                <a:lumOff val="40000"/>
              </a:schemeClr>
            </a:solidFill>
            <a:prstDash val="solid"/>
            <a:headEnd type="oval" w="med" len="med"/>
            <a:tailEnd type="oval" w="med" len="med"/>
          </a:ln>
          <a:effectLst/>
        </p:spPr>
      </p:cxnSp>
      <p:sp>
        <p:nvSpPr>
          <p:cNvPr id="1109" name="TextBox 1108">
            <a:extLst>
              <a:ext uri="{FF2B5EF4-FFF2-40B4-BE49-F238E27FC236}">
                <a16:creationId xmlns:a16="http://schemas.microsoft.com/office/drawing/2014/main" id="{BFC39401-40DA-7F39-617B-ACF091CC4F9B}"/>
              </a:ext>
            </a:extLst>
          </p:cNvPr>
          <p:cNvSpPr txBox="1"/>
          <p:nvPr/>
        </p:nvSpPr>
        <p:spPr>
          <a:xfrm rot="16200000">
            <a:off x="-787072" y="5397871"/>
            <a:ext cx="2037161" cy="307777"/>
          </a:xfrm>
          <a:prstGeom prst="rect">
            <a:avLst/>
          </a:prstGeom>
          <a:noFill/>
          <a:effectLst/>
        </p:spPr>
        <p:txBody>
          <a:bodyPr wrap="square" lIns="91440" tIns="45720" rIns="91440" bIns="45720" rtlCol="0" anchor="t">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F878A">
                    <a:lumMod val="60000"/>
                    <a:lumOff val="40000"/>
                  </a:srgbClr>
                </a:solidFill>
                <a:effectLst/>
                <a:uLnTx/>
                <a:uFillTx/>
                <a:latin typeface="Ubuntu"/>
                <a:ea typeface="+mn-ea"/>
                <a:cs typeface="+mn-cs"/>
              </a:rPr>
              <a:t> Gen AI Toolset</a:t>
            </a:r>
          </a:p>
        </p:txBody>
      </p:sp>
      <p:cxnSp>
        <p:nvCxnSpPr>
          <p:cNvPr id="1110" name="Straight Connector 1109">
            <a:extLst>
              <a:ext uri="{FF2B5EF4-FFF2-40B4-BE49-F238E27FC236}">
                <a16:creationId xmlns:a16="http://schemas.microsoft.com/office/drawing/2014/main" id="{0253061C-48B0-6C3E-3112-A0A9C1568746}"/>
              </a:ext>
            </a:extLst>
          </p:cNvPr>
          <p:cNvCxnSpPr>
            <a:cxnSpLocks/>
          </p:cNvCxnSpPr>
          <p:nvPr/>
        </p:nvCxnSpPr>
        <p:spPr>
          <a:xfrm flipV="1">
            <a:off x="438253" y="2900786"/>
            <a:ext cx="0" cy="3567034"/>
          </a:xfrm>
          <a:prstGeom prst="line">
            <a:avLst/>
          </a:prstGeom>
          <a:noFill/>
          <a:ln w="25400" cap="flat" cmpd="sng" algn="ctr">
            <a:solidFill>
              <a:schemeClr val="accent5">
                <a:lumMod val="60000"/>
                <a:lumOff val="40000"/>
              </a:schemeClr>
            </a:solidFill>
            <a:prstDash val="solid"/>
            <a:headEnd type="oval" w="med" len="med"/>
            <a:tailEnd type="oval" w="med" len="med"/>
          </a:ln>
          <a:effectLst/>
        </p:spPr>
      </p:cxnSp>
      <p:pic>
        <p:nvPicPr>
          <p:cNvPr id="1142" name="Picture 4" descr="Azure OpenAI Connector - Overview | OutSystems">
            <a:extLst>
              <a:ext uri="{FF2B5EF4-FFF2-40B4-BE49-F238E27FC236}">
                <a16:creationId xmlns:a16="http://schemas.microsoft.com/office/drawing/2014/main" id="{64B2CBAE-BD72-C53F-4FB5-B1D24562B1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95739" y="5585822"/>
            <a:ext cx="797402" cy="501937"/>
          </a:xfrm>
          <a:prstGeom prst="rect">
            <a:avLst/>
          </a:prstGeom>
          <a:noFill/>
          <a:extLst>
            <a:ext uri="{909E8E84-426E-40DD-AFC4-6F175D3DCCD1}">
              <a14:hiddenFill xmlns:a14="http://schemas.microsoft.com/office/drawing/2010/main">
                <a:solidFill>
                  <a:srgbClr val="FFFFFF"/>
                </a:solidFill>
              </a14:hiddenFill>
            </a:ext>
          </a:extLst>
        </p:spPr>
      </p:pic>
      <p:pic>
        <p:nvPicPr>
          <p:cNvPr id="1152" name="Picture 20" descr="OpenAI Pulls Wraps From GPT-4, Without Text-To-Video">
            <a:extLst>
              <a:ext uri="{FF2B5EF4-FFF2-40B4-BE49-F238E27FC236}">
                <a16:creationId xmlns:a16="http://schemas.microsoft.com/office/drawing/2014/main" id="{61E1D38A-A739-133C-677D-9BAA924BB9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93151" y="5576688"/>
            <a:ext cx="1591261" cy="504553"/>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27">
            <a:extLst>
              <a:ext uri="{FF2B5EF4-FFF2-40B4-BE49-F238E27FC236}">
                <a16:creationId xmlns:a16="http://schemas.microsoft.com/office/drawing/2014/main" id="{977A7AE6-107A-2846-A106-373358528599}"/>
              </a:ext>
            </a:extLst>
          </p:cNvPr>
          <p:cNvSpPr/>
          <p:nvPr/>
        </p:nvSpPr>
        <p:spPr>
          <a:xfrm>
            <a:off x="7227070" y="6248364"/>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A6A6A6"/>
                </a:solidFill>
                <a:effectLst/>
                <a:uLnTx/>
                <a:uFillTx/>
                <a:latin typeface="Ubuntu" panose="020B0504030602030204" pitchFamily="34" charset="0"/>
                <a:ea typeface="+mn-ea"/>
                <a:cs typeface="Arial" panose="020B0604020202020204" pitchFamily="34" charset="0"/>
              </a:rPr>
              <a:t>Company Restricted © Capgemini 2023. All rights reserved  |</a:t>
            </a:r>
          </a:p>
        </p:txBody>
      </p:sp>
      <p:sp>
        <p:nvSpPr>
          <p:cNvPr id="5" name="Rectangle 43">
            <a:extLst>
              <a:ext uri="{FF2B5EF4-FFF2-40B4-BE49-F238E27FC236}">
                <a16:creationId xmlns:a16="http://schemas.microsoft.com/office/drawing/2014/main" id="{AAADD23C-51BB-DFD9-DE1D-5B77B41D4E93}"/>
              </a:ext>
            </a:extLst>
          </p:cNvPr>
          <p:cNvSpPr/>
          <p:nvPr/>
        </p:nvSpPr>
        <p:spPr>
          <a:xfrm>
            <a:off x="11744128" y="6248151"/>
            <a:ext cx="229263" cy="215444"/>
          </a:xfrm>
          <a:prstGeom prst="rect">
            <a:avLst/>
          </a:prstGeom>
        </p:spPr>
        <p:txBody>
          <a:bodyPr wrap="squar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srgbClr val="A6A6A6"/>
                </a:solidFill>
                <a:effectLst/>
                <a:uLnTx/>
                <a:uFillTx/>
                <a:latin typeface="Ubuntu" panose="020B0504030602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rgbClr val="A6A6A6"/>
              </a:solidFill>
              <a:effectLst/>
              <a:uLnTx/>
              <a:uFillTx/>
              <a:latin typeface="Ubuntu" panose="020B0504030602030204" pitchFamily="34" charset="0"/>
              <a:ea typeface="+mn-ea"/>
              <a:cs typeface="Arial" panose="020B0604020202020204" pitchFamily="34" charset="0"/>
            </a:endParaRPr>
          </a:p>
        </p:txBody>
      </p:sp>
      <p:sp>
        <p:nvSpPr>
          <p:cNvPr id="10" name="Title 1">
            <a:extLst>
              <a:ext uri="{FF2B5EF4-FFF2-40B4-BE49-F238E27FC236}">
                <a16:creationId xmlns:a16="http://schemas.microsoft.com/office/drawing/2014/main" id="{DC26B0E6-32A2-4A8D-EFE0-E9FB8E9EA241}"/>
              </a:ext>
            </a:extLst>
          </p:cNvPr>
          <p:cNvSpPr txBox="1">
            <a:spLocks/>
          </p:cNvSpPr>
          <p:nvPr/>
        </p:nvSpPr>
        <p:spPr>
          <a:xfrm>
            <a:off x="9206215" y="4692151"/>
            <a:ext cx="2122566" cy="523846"/>
          </a:xfrm>
          <a:prstGeom prst="rect">
            <a:avLst/>
          </a:prstGeom>
        </p:spPr>
        <p:txBody>
          <a:bodyPr vert="horz" lIns="0" tIns="0" rIns="0" bIns="0" rtlCol="0" anchor="t">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a:ln>
                  <a:noFill/>
                </a:ln>
                <a:solidFill>
                  <a:schemeClr val="bg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1800" b="0" i="0" u="none" strike="noStrike" kern="1200" cap="all" spc="0" normalizeH="0" baseline="0" noProof="0">
                <a:ln>
                  <a:noFill/>
                </a:ln>
                <a:solidFill>
                  <a:srgbClr val="FFFFFF"/>
                </a:solidFill>
                <a:effectLst/>
                <a:uLnTx/>
                <a:uFillTx/>
                <a:latin typeface="Ubuntu Medium"/>
                <a:ea typeface="+mj-ea"/>
                <a:cs typeface="+mj-cs"/>
              </a:rPr>
              <a:t>GEN AI </a:t>
            </a:r>
            <a:endParaRPr kumimoji="0" lang="en-US" sz="1800" b="0" i="0" u="none" strike="noStrike" kern="1200" cap="all" spc="0" normalizeH="0" baseline="0" noProof="0">
              <a:ln>
                <a:noFill/>
              </a:ln>
              <a:solidFill>
                <a:srgbClr val="FFFFFF"/>
              </a:solidFill>
              <a:effectLst/>
              <a:uLnTx/>
              <a:uFillTx/>
              <a:latin typeface="Ubuntu Medium"/>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1800" b="0" i="0" u="none" strike="noStrike" kern="1200" cap="all" spc="0" normalizeH="0" baseline="0" noProof="0">
                <a:ln>
                  <a:noFill/>
                </a:ln>
                <a:solidFill>
                  <a:srgbClr val="FFFFFF"/>
                </a:solidFill>
                <a:effectLst/>
                <a:uLnTx/>
                <a:uFillTx/>
                <a:latin typeface="Ubuntu Medium"/>
                <a:ea typeface="+mj-ea"/>
                <a:cs typeface="+mj-cs"/>
              </a:rPr>
              <a:t>for cx foundry</a:t>
            </a:r>
            <a:endParaRPr kumimoji="0" lang="en-SE" sz="1800" b="0" i="0" u="none" strike="noStrike" kern="1200" cap="all" spc="0" normalizeH="0" baseline="0" noProof="0">
              <a:ln>
                <a:noFill/>
              </a:ln>
              <a:solidFill>
                <a:srgbClr val="FFFFFF"/>
              </a:solidFill>
              <a:effectLst/>
              <a:uLnTx/>
              <a:uFillTx/>
              <a:latin typeface="Ubuntu Medium"/>
              <a:ea typeface="+mj-ea"/>
              <a:cs typeface="+mj-cs"/>
            </a:endParaRPr>
          </a:p>
        </p:txBody>
      </p:sp>
      <p:pic>
        <p:nvPicPr>
          <p:cNvPr id="12" name="Picture 11">
            <a:extLst>
              <a:ext uri="{FF2B5EF4-FFF2-40B4-BE49-F238E27FC236}">
                <a16:creationId xmlns:a16="http://schemas.microsoft.com/office/drawing/2014/main" id="{3976C459-1856-6079-F652-FB02E6EDA141}"/>
              </a:ext>
            </a:extLst>
          </p:cNvPr>
          <p:cNvPicPr>
            <a:picLocks noChangeAspect="1"/>
          </p:cNvPicPr>
          <p:nvPr/>
        </p:nvPicPr>
        <p:blipFill>
          <a:blip r:embed="rId5"/>
          <a:stretch>
            <a:fillRect/>
          </a:stretch>
        </p:blipFill>
        <p:spPr>
          <a:xfrm>
            <a:off x="8555689" y="4692151"/>
            <a:ext cx="651331" cy="574591"/>
          </a:xfrm>
          <a:prstGeom prst="rect">
            <a:avLst/>
          </a:prstGeom>
        </p:spPr>
      </p:pic>
      <p:pic>
        <p:nvPicPr>
          <p:cNvPr id="1132" name="Picture 1131">
            <a:extLst>
              <a:ext uri="{FF2B5EF4-FFF2-40B4-BE49-F238E27FC236}">
                <a16:creationId xmlns:a16="http://schemas.microsoft.com/office/drawing/2014/main" id="{207D04CD-FB0F-4AEB-AE5E-1B29C8BE9E43}"/>
              </a:ext>
            </a:extLst>
          </p:cNvPr>
          <p:cNvPicPr>
            <a:picLocks noChangeAspect="1"/>
          </p:cNvPicPr>
          <p:nvPr/>
        </p:nvPicPr>
        <p:blipFill>
          <a:blip r:embed="rId6"/>
          <a:stretch>
            <a:fillRect/>
          </a:stretch>
        </p:blipFill>
        <p:spPr>
          <a:xfrm>
            <a:off x="4051828" y="3139523"/>
            <a:ext cx="1239632" cy="1036255"/>
          </a:xfrm>
          <a:prstGeom prst="rect">
            <a:avLst/>
          </a:prstGeom>
        </p:spPr>
      </p:pic>
      <p:pic>
        <p:nvPicPr>
          <p:cNvPr id="1134" name="Picture 1133">
            <a:extLst>
              <a:ext uri="{FF2B5EF4-FFF2-40B4-BE49-F238E27FC236}">
                <a16:creationId xmlns:a16="http://schemas.microsoft.com/office/drawing/2014/main" id="{9D2A2C65-04DA-C4E9-3F2E-FB896C02220F}"/>
              </a:ext>
            </a:extLst>
          </p:cNvPr>
          <p:cNvPicPr>
            <a:picLocks noChangeAspect="1"/>
          </p:cNvPicPr>
          <p:nvPr/>
        </p:nvPicPr>
        <p:blipFill>
          <a:blip r:embed="rId7"/>
          <a:stretch>
            <a:fillRect/>
          </a:stretch>
        </p:blipFill>
        <p:spPr>
          <a:xfrm>
            <a:off x="1332489" y="3079814"/>
            <a:ext cx="1401014" cy="1037868"/>
          </a:xfrm>
          <a:prstGeom prst="rect">
            <a:avLst/>
          </a:prstGeom>
        </p:spPr>
      </p:pic>
      <p:pic>
        <p:nvPicPr>
          <p:cNvPr id="26" name="Picture 25">
            <a:extLst>
              <a:ext uri="{FF2B5EF4-FFF2-40B4-BE49-F238E27FC236}">
                <a16:creationId xmlns:a16="http://schemas.microsoft.com/office/drawing/2014/main" id="{FD3E9758-FF08-3857-087B-7B5507B08662}"/>
              </a:ext>
            </a:extLst>
          </p:cNvPr>
          <p:cNvPicPr>
            <a:picLocks noChangeAspect="1"/>
          </p:cNvPicPr>
          <p:nvPr/>
        </p:nvPicPr>
        <p:blipFill>
          <a:blip r:embed="rId8"/>
          <a:stretch>
            <a:fillRect/>
          </a:stretch>
        </p:blipFill>
        <p:spPr>
          <a:xfrm>
            <a:off x="6705088" y="3185442"/>
            <a:ext cx="1235842" cy="747279"/>
          </a:xfrm>
          <a:prstGeom prst="rect">
            <a:avLst/>
          </a:prstGeom>
        </p:spPr>
      </p:pic>
      <p:pic>
        <p:nvPicPr>
          <p:cNvPr id="15" name="Picture 14">
            <a:extLst>
              <a:ext uri="{FF2B5EF4-FFF2-40B4-BE49-F238E27FC236}">
                <a16:creationId xmlns:a16="http://schemas.microsoft.com/office/drawing/2014/main" id="{5A78F9C7-61B7-6B23-3A6A-609F64EAFAC7}"/>
              </a:ext>
            </a:extLst>
          </p:cNvPr>
          <p:cNvPicPr>
            <a:picLocks noChangeAspect="1"/>
          </p:cNvPicPr>
          <p:nvPr/>
        </p:nvPicPr>
        <p:blipFill>
          <a:blip r:embed="rId9"/>
          <a:stretch>
            <a:fillRect/>
          </a:stretch>
        </p:blipFill>
        <p:spPr>
          <a:xfrm>
            <a:off x="9783926" y="3224210"/>
            <a:ext cx="1221349" cy="639322"/>
          </a:xfrm>
          <a:prstGeom prst="rect">
            <a:avLst/>
          </a:prstGeom>
        </p:spPr>
      </p:pic>
      <p:cxnSp>
        <p:nvCxnSpPr>
          <p:cNvPr id="3" name="Straight Connector 2">
            <a:extLst>
              <a:ext uri="{FF2B5EF4-FFF2-40B4-BE49-F238E27FC236}">
                <a16:creationId xmlns:a16="http://schemas.microsoft.com/office/drawing/2014/main" id="{B5E7D16D-5E05-E030-332F-0CC725736289}"/>
              </a:ext>
            </a:extLst>
          </p:cNvPr>
          <p:cNvCxnSpPr>
            <a:cxnSpLocks/>
          </p:cNvCxnSpPr>
          <p:nvPr/>
        </p:nvCxnSpPr>
        <p:spPr>
          <a:xfrm flipV="1">
            <a:off x="618365" y="4535207"/>
            <a:ext cx="11376804" cy="0"/>
          </a:xfrm>
          <a:prstGeom prst="line">
            <a:avLst/>
          </a:prstGeom>
          <a:noFill/>
          <a:ln w="6350" cap="flat" cmpd="sng" algn="ctr">
            <a:solidFill>
              <a:schemeClr val="accent5">
                <a:lumMod val="60000"/>
                <a:lumOff val="40000"/>
              </a:schemeClr>
            </a:solidFill>
            <a:prstDash val="solid"/>
            <a:headEnd type="oval" w="med" len="med"/>
            <a:tailEnd type="oval" w="med" len="med"/>
          </a:ln>
          <a:effectLst/>
        </p:spPr>
      </p:cxnSp>
      <p:pic>
        <p:nvPicPr>
          <p:cNvPr id="8" name="Picture 7" descr="A black text on a white background&#10;&#10;Description automatically generated">
            <a:extLst>
              <a:ext uri="{FF2B5EF4-FFF2-40B4-BE49-F238E27FC236}">
                <a16:creationId xmlns:a16="http://schemas.microsoft.com/office/drawing/2014/main" id="{8E541FC0-8165-371C-9EF4-FEEA9E7AF570}"/>
              </a:ext>
            </a:extLst>
          </p:cNvPr>
          <p:cNvPicPr>
            <a:picLocks noChangeAspect="1"/>
          </p:cNvPicPr>
          <p:nvPr/>
        </p:nvPicPr>
        <p:blipFill>
          <a:blip r:embed="rId10"/>
          <a:stretch>
            <a:fillRect/>
          </a:stretch>
        </p:blipFill>
        <p:spPr>
          <a:xfrm>
            <a:off x="6389222" y="4728352"/>
            <a:ext cx="1894431" cy="527672"/>
          </a:xfrm>
          <a:prstGeom prst="rect">
            <a:avLst/>
          </a:prstGeom>
        </p:spPr>
      </p:pic>
      <p:pic>
        <p:nvPicPr>
          <p:cNvPr id="6" name="Picture 5">
            <a:extLst>
              <a:ext uri="{FF2B5EF4-FFF2-40B4-BE49-F238E27FC236}">
                <a16:creationId xmlns:a16="http://schemas.microsoft.com/office/drawing/2014/main" id="{9F018537-2F80-1288-BE62-D83D26CB59E2}"/>
              </a:ext>
            </a:extLst>
          </p:cNvPr>
          <p:cNvPicPr>
            <a:picLocks noChangeAspect="1"/>
          </p:cNvPicPr>
          <p:nvPr/>
        </p:nvPicPr>
        <p:blipFill>
          <a:blip r:embed="rId11"/>
          <a:stretch>
            <a:fillRect/>
          </a:stretch>
        </p:blipFill>
        <p:spPr>
          <a:xfrm>
            <a:off x="805160" y="4745940"/>
            <a:ext cx="747363" cy="527673"/>
          </a:xfrm>
          <a:prstGeom prst="rect">
            <a:avLst/>
          </a:prstGeom>
        </p:spPr>
      </p:pic>
      <p:pic>
        <p:nvPicPr>
          <p:cNvPr id="7" name="Picture 6">
            <a:extLst>
              <a:ext uri="{FF2B5EF4-FFF2-40B4-BE49-F238E27FC236}">
                <a16:creationId xmlns:a16="http://schemas.microsoft.com/office/drawing/2014/main" id="{7B7A9FCE-F209-ECD9-D3C7-6D9B6D8D54DE}"/>
              </a:ext>
            </a:extLst>
          </p:cNvPr>
          <p:cNvPicPr>
            <a:picLocks noChangeAspect="1"/>
          </p:cNvPicPr>
          <p:nvPr/>
        </p:nvPicPr>
        <p:blipFill>
          <a:blip r:embed="rId12"/>
          <a:stretch>
            <a:fillRect/>
          </a:stretch>
        </p:blipFill>
        <p:spPr>
          <a:xfrm>
            <a:off x="1600657" y="4745940"/>
            <a:ext cx="1687647" cy="533137"/>
          </a:xfrm>
          <a:prstGeom prst="rect">
            <a:avLst/>
          </a:prstGeom>
        </p:spPr>
      </p:pic>
      <p:pic>
        <p:nvPicPr>
          <p:cNvPr id="13" name="Picture 12">
            <a:extLst>
              <a:ext uri="{FF2B5EF4-FFF2-40B4-BE49-F238E27FC236}">
                <a16:creationId xmlns:a16="http://schemas.microsoft.com/office/drawing/2014/main" id="{B9166236-4584-DB84-AE53-8E8E04E7FC1A}"/>
              </a:ext>
            </a:extLst>
          </p:cNvPr>
          <p:cNvPicPr>
            <a:picLocks noChangeAspect="1"/>
          </p:cNvPicPr>
          <p:nvPr/>
        </p:nvPicPr>
        <p:blipFill>
          <a:blip r:embed="rId13"/>
          <a:stretch>
            <a:fillRect/>
          </a:stretch>
        </p:blipFill>
        <p:spPr>
          <a:xfrm>
            <a:off x="3943045" y="4768379"/>
            <a:ext cx="2190320" cy="432019"/>
          </a:xfrm>
          <a:prstGeom prst="rect">
            <a:avLst/>
          </a:prstGeom>
        </p:spPr>
      </p:pic>
      <p:pic>
        <p:nvPicPr>
          <p:cNvPr id="14" name="Picture 13">
            <a:extLst>
              <a:ext uri="{FF2B5EF4-FFF2-40B4-BE49-F238E27FC236}">
                <a16:creationId xmlns:a16="http://schemas.microsoft.com/office/drawing/2014/main" id="{ED00FD4B-CF03-7F7E-3BFF-CF8CAFA049F2}"/>
              </a:ext>
            </a:extLst>
          </p:cNvPr>
          <p:cNvPicPr>
            <a:picLocks noChangeAspect="1"/>
          </p:cNvPicPr>
          <p:nvPr/>
        </p:nvPicPr>
        <p:blipFill>
          <a:blip r:embed="rId14"/>
          <a:stretch>
            <a:fillRect/>
          </a:stretch>
        </p:blipFill>
        <p:spPr>
          <a:xfrm>
            <a:off x="3506508" y="4768379"/>
            <a:ext cx="445323" cy="447618"/>
          </a:xfrm>
          <a:prstGeom prst="rect">
            <a:avLst/>
          </a:prstGeom>
        </p:spPr>
      </p:pic>
      <p:pic>
        <p:nvPicPr>
          <p:cNvPr id="16" name="Picture 15">
            <a:extLst>
              <a:ext uri="{FF2B5EF4-FFF2-40B4-BE49-F238E27FC236}">
                <a16:creationId xmlns:a16="http://schemas.microsoft.com/office/drawing/2014/main" id="{3B5D0443-CF26-1B25-368A-B09FDD0E1AD1}"/>
              </a:ext>
            </a:extLst>
          </p:cNvPr>
          <p:cNvPicPr>
            <a:picLocks noChangeAspect="1"/>
          </p:cNvPicPr>
          <p:nvPr/>
        </p:nvPicPr>
        <p:blipFill>
          <a:blip r:embed="rId15"/>
          <a:stretch>
            <a:fillRect/>
          </a:stretch>
        </p:blipFill>
        <p:spPr>
          <a:xfrm>
            <a:off x="3949130" y="5246182"/>
            <a:ext cx="1370160" cy="143376"/>
          </a:xfrm>
          <a:prstGeom prst="rect">
            <a:avLst/>
          </a:prstGeom>
        </p:spPr>
      </p:pic>
      <p:pic>
        <p:nvPicPr>
          <p:cNvPr id="9" name="Picture 8">
            <a:extLst>
              <a:ext uri="{FF2B5EF4-FFF2-40B4-BE49-F238E27FC236}">
                <a16:creationId xmlns:a16="http://schemas.microsoft.com/office/drawing/2014/main" id="{E4EA8BDF-8D4D-6D5E-EC25-3014A269A28C}"/>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572909" y="107616"/>
            <a:ext cx="622300" cy="622300"/>
          </a:xfrm>
          <a:prstGeom prst="rect">
            <a:avLst/>
          </a:prstGeom>
        </p:spPr>
      </p:pic>
    </p:spTree>
    <p:extLst>
      <p:ext uri="{BB962C8B-B14F-4D97-AF65-F5344CB8AC3E}">
        <p14:creationId xmlns:p14="http://schemas.microsoft.com/office/powerpoint/2010/main" val="11063204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D364B2-B579-357E-7310-A80335D5B394}"/>
            </a:ext>
          </a:extLst>
        </p:cNvPr>
        <p:cNvGrpSpPr/>
        <p:nvPr/>
      </p:nvGrpSpPr>
      <p:grpSpPr>
        <a:xfrm>
          <a:off x="0" y="0"/>
          <a:ext cx="0" cy="0"/>
          <a:chOff x="0" y="0"/>
          <a:chExt cx="0" cy="0"/>
        </a:xfrm>
      </p:grpSpPr>
      <p:pic>
        <p:nvPicPr>
          <p:cNvPr id="5122" name="Picture 2" descr="Salesforce Ventures targets new $250M fund at generative AI startups |  TechCrunch">
            <a:extLst>
              <a:ext uri="{FF2B5EF4-FFF2-40B4-BE49-F238E27FC236}">
                <a16:creationId xmlns:a16="http://schemas.microsoft.com/office/drawing/2014/main" id="{0FE869E5-872B-CF89-A61A-BD237EFF01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58AC46F8-2AA2-22AD-CCB3-2B51A9FCC39C}"/>
              </a:ext>
            </a:extLst>
          </p:cNvPr>
          <p:cNvSpPr/>
          <p:nvPr/>
        </p:nvSpPr>
        <p:spPr>
          <a:xfrm>
            <a:off x="0" y="0"/>
            <a:ext cx="12191979" cy="6858000"/>
          </a:xfrm>
          <a:prstGeom prst="rect">
            <a:avLst/>
          </a:prstGeom>
          <a:gradFill>
            <a:gsLst>
              <a:gs pos="59000">
                <a:schemeClr val="tx1">
                  <a:lumMod val="8000"/>
                </a:schemeClr>
              </a:gs>
              <a:gs pos="86000">
                <a:schemeClr val="tx1">
                  <a:alpha val="5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graphicFrame>
        <p:nvGraphicFramePr>
          <p:cNvPr id="8" name="Table 31">
            <a:extLst>
              <a:ext uri="{FF2B5EF4-FFF2-40B4-BE49-F238E27FC236}">
                <a16:creationId xmlns:a16="http://schemas.microsoft.com/office/drawing/2014/main" id="{4AC79A05-CFC2-5D3E-9387-443275218EFE}"/>
              </a:ext>
            </a:extLst>
          </p:cNvPr>
          <p:cNvGraphicFramePr>
            <a:graphicFrameLocks noGrp="1"/>
          </p:cNvGraphicFramePr>
          <p:nvPr>
            <p:extLst>
              <p:ext uri="{D42A27DB-BD31-4B8C-83A1-F6EECF244321}">
                <p14:modId xmlns:p14="http://schemas.microsoft.com/office/powerpoint/2010/main" val="2506275603"/>
              </p:ext>
            </p:extLst>
          </p:nvPr>
        </p:nvGraphicFramePr>
        <p:xfrm>
          <a:off x="1330911" y="890108"/>
          <a:ext cx="10623722" cy="5719633"/>
        </p:xfrm>
        <a:graphic>
          <a:graphicData uri="http://schemas.openxmlformats.org/drawingml/2006/table">
            <a:tbl>
              <a:tblPr firstRow="1" bandRow="1">
                <a:tableStyleId>{46F890A9-2807-4EBB-B81D-B2AA78EC7F39}</a:tableStyleId>
              </a:tblPr>
              <a:tblGrid>
                <a:gridCol w="1758818">
                  <a:extLst>
                    <a:ext uri="{9D8B030D-6E8A-4147-A177-3AD203B41FA5}">
                      <a16:colId xmlns:a16="http://schemas.microsoft.com/office/drawing/2014/main" val="2471665029"/>
                    </a:ext>
                  </a:extLst>
                </a:gridCol>
                <a:gridCol w="3156857">
                  <a:extLst>
                    <a:ext uri="{9D8B030D-6E8A-4147-A177-3AD203B41FA5}">
                      <a16:colId xmlns:a16="http://schemas.microsoft.com/office/drawing/2014/main" val="3389379457"/>
                    </a:ext>
                  </a:extLst>
                </a:gridCol>
                <a:gridCol w="2786743">
                  <a:extLst>
                    <a:ext uri="{9D8B030D-6E8A-4147-A177-3AD203B41FA5}">
                      <a16:colId xmlns:a16="http://schemas.microsoft.com/office/drawing/2014/main" val="2381394561"/>
                    </a:ext>
                  </a:extLst>
                </a:gridCol>
                <a:gridCol w="2921304">
                  <a:extLst>
                    <a:ext uri="{9D8B030D-6E8A-4147-A177-3AD203B41FA5}">
                      <a16:colId xmlns:a16="http://schemas.microsoft.com/office/drawing/2014/main" val="1063255206"/>
                    </a:ext>
                  </a:extLst>
                </a:gridCol>
              </a:tblGrid>
              <a:tr h="3644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050" b="1">
                          <a:solidFill>
                            <a:schemeClr val="accent5">
                              <a:lumMod val="60000"/>
                              <a:lumOff val="40000"/>
                            </a:schemeClr>
                          </a:solidFill>
                          <a:latin typeface="Ubuntu" panose="020B0504030602030204" pitchFamily="34" charset="0"/>
                        </a:rPr>
                        <a:t>BUILD &amp; UT</a:t>
                      </a:r>
                      <a:endParaRPr lang="en-IN" sz="1050" b="1" kern="1200">
                        <a:solidFill>
                          <a:schemeClr val="accent5">
                            <a:lumMod val="60000"/>
                            <a:lumOff val="40000"/>
                          </a:schemeClr>
                        </a:solidFill>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alpha val="79688"/>
                      </a:schemeClr>
                    </a:solidFill>
                  </a:tcPr>
                </a:tc>
                <a:tc>
                  <a:txBody>
                    <a:bodyPr/>
                    <a:lstStyle/>
                    <a:p>
                      <a:pPr marL="0" algn="l" defTabSz="914400" rtl="0" eaLnBrk="1" latinLnBrk="0" hangingPunct="1"/>
                      <a:endParaRPr lang="en-IN" sz="1050" b="1" kern="1200">
                        <a:solidFill>
                          <a:schemeClr val="accent5">
                            <a:lumMod val="60000"/>
                            <a:lumOff val="40000"/>
                          </a:schemeClr>
                        </a:solidFill>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2">
                        <a:lumMod val="50000"/>
                        <a:alpha val="48000"/>
                      </a:schemeClr>
                    </a:solidFill>
                  </a:tcPr>
                </a:tc>
                <a:tc>
                  <a:txBody>
                    <a:bodyPr/>
                    <a:lstStyle/>
                    <a:p>
                      <a:pPr marL="0" algn="l" defTabSz="914400" rtl="0" eaLnBrk="1" latinLnBrk="0" hangingPunct="1"/>
                      <a:endParaRPr lang="en-IN" sz="1050" b="1" kern="1200">
                        <a:solidFill>
                          <a:schemeClr val="accent5">
                            <a:lumMod val="60000"/>
                            <a:lumOff val="40000"/>
                          </a:schemeClr>
                        </a:solidFill>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2">
                        <a:lumMod val="50000"/>
                        <a:alpha val="48000"/>
                      </a:schemeClr>
                    </a:solidFill>
                  </a:tcPr>
                </a:tc>
                <a:tc>
                  <a:txBody>
                    <a:bodyPr/>
                    <a:lstStyle/>
                    <a:p>
                      <a:pPr marL="0" algn="l" defTabSz="914400" rtl="0" eaLnBrk="1" latinLnBrk="0" hangingPunct="1"/>
                      <a:endParaRPr lang="en-IN" sz="1050" b="1" kern="1200">
                        <a:solidFill>
                          <a:schemeClr val="accent5">
                            <a:lumMod val="60000"/>
                            <a:lumOff val="40000"/>
                          </a:schemeClr>
                        </a:solidFill>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2">
                        <a:lumMod val="50000"/>
                        <a:alpha val="48000"/>
                      </a:schemeClr>
                    </a:solidFill>
                  </a:tcPr>
                </a:tc>
                <a:extLst>
                  <a:ext uri="{0D108BD9-81ED-4DB2-BD59-A6C34878D82A}">
                    <a16:rowId xmlns:a16="http://schemas.microsoft.com/office/drawing/2014/main" val="4229479593"/>
                  </a:ext>
                </a:extLst>
              </a:tr>
              <a:tr h="364418">
                <a:tc>
                  <a:txBody>
                    <a:bodyPr/>
                    <a:lstStyle/>
                    <a:p>
                      <a:pPr marL="171450" lvl="0" indent="-171450">
                        <a:buFont typeface="System Font Regular"/>
                        <a:buChar char="-"/>
                      </a:pPr>
                      <a:r>
                        <a:rPr lang="en-IN" sz="900">
                          <a:solidFill>
                            <a:schemeClr val="bg1"/>
                          </a:solidFill>
                          <a:latin typeface="Ubuntu" panose="020B0504030602030204" pitchFamily="34" charset="0"/>
                        </a:rPr>
                        <a:t>Design &amp; Analysis</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alpha val="79688"/>
                      </a:schemeClr>
                    </a:solidFill>
                  </a:tcPr>
                </a:tc>
                <a:tc>
                  <a:txBody>
                    <a:bodyPr/>
                    <a:lstStyle/>
                    <a:p>
                      <a:endParaRPr lang="en-IN" sz="1000">
                        <a:latin typeface="Ubuntu" panose="020B0504030602030204" pitchFamily="34" charset="0"/>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endParaRPr lang="en-IN" sz="1000">
                        <a:latin typeface="Ubuntu" panose="020B0504030602030204" pitchFamily="34" charset="0"/>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endParaRPr lang="en-IN" sz="1000">
                        <a:latin typeface="Ubuntu" panose="020B0504030602030204" pitchFamily="34" charset="0"/>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extLst>
                  <a:ext uri="{0D108BD9-81ED-4DB2-BD59-A6C34878D82A}">
                    <a16:rowId xmlns:a16="http://schemas.microsoft.com/office/drawing/2014/main" val="2806989104"/>
                  </a:ext>
                </a:extLst>
              </a:tr>
              <a:tr h="364418">
                <a:tc>
                  <a:txBody>
                    <a:bodyPr/>
                    <a:lstStyle/>
                    <a:p>
                      <a:pPr marL="171450" lvl="0" indent="-171450">
                        <a:buFont typeface="System Font Regular"/>
                        <a:buChar char="-"/>
                      </a:pPr>
                      <a:r>
                        <a:rPr lang="en-IN" sz="900">
                          <a:solidFill>
                            <a:schemeClr val="bg1"/>
                          </a:solidFill>
                          <a:latin typeface="Ubuntu" panose="020B0504030602030204" pitchFamily="34" charset="0"/>
                        </a:rPr>
                        <a:t>LWC</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alpha val="79688"/>
                      </a:schemeClr>
                    </a:solidFill>
                  </a:tcPr>
                </a:tc>
                <a:tc>
                  <a:txBody>
                    <a:bodyPr/>
                    <a:lstStyle/>
                    <a:p>
                      <a:endParaRPr lang="en-IN" sz="1000">
                        <a:latin typeface="Ubuntu" panose="020B0504030602030204" pitchFamily="34" charset="0"/>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endParaRPr lang="en-IN" sz="1000">
                        <a:latin typeface="Ubuntu" panose="020B0504030602030204" pitchFamily="34" charset="0"/>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endParaRPr lang="en-IN" sz="1000">
                        <a:latin typeface="Ubuntu" panose="020B0504030602030204" pitchFamily="34" charset="0"/>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extLst>
                  <a:ext uri="{0D108BD9-81ED-4DB2-BD59-A6C34878D82A}">
                    <a16:rowId xmlns:a16="http://schemas.microsoft.com/office/drawing/2014/main" val="3222092739"/>
                  </a:ext>
                </a:extLst>
              </a:tr>
              <a:tr h="364418">
                <a:tc>
                  <a:txBody>
                    <a:bodyPr/>
                    <a:lstStyle/>
                    <a:p>
                      <a:pPr marL="171450" lvl="0" indent="-171450">
                        <a:buFont typeface="System Font Regular"/>
                        <a:buChar char="-"/>
                      </a:pPr>
                      <a:r>
                        <a:rPr lang="en-IN" sz="900">
                          <a:solidFill>
                            <a:schemeClr val="bg1"/>
                          </a:solidFill>
                          <a:latin typeface="Ubuntu" panose="020B0504030602030204" pitchFamily="34" charset="0"/>
                        </a:rPr>
                        <a:t>Aura</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alpha val="79688"/>
                      </a:schemeClr>
                    </a:solidFill>
                  </a:tcPr>
                </a:tc>
                <a:tc>
                  <a:txBody>
                    <a:bodyPr/>
                    <a:lstStyle/>
                    <a:p>
                      <a:pPr algn="ctr"/>
                      <a:endParaRPr lang="en-IN" sz="900">
                        <a:solidFill>
                          <a:schemeClr val="bg1"/>
                        </a:solidFill>
                        <a:latin typeface="Ubuntu" panose="020B0504030602030204" pitchFamily="34" charset="0"/>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endParaRPr lang="en-IN" sz="900">
                        <a:solidFill>
                          <a:schemeClr val="bg1"/>
                        </a:solidFill>
                        <a:latin typeface="Ubuntu" panose="020B0504030602030204" pitchFamily="34" charset="0"/>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endParaRPr lang="en-IN" sz="900">
                        <a:solidFill>
                          <a:schemeClr val="bg1"/>
                        </a:solidFill>
                        <a:latin typeface="Ubuntu" panose="020B0504030602030204" pitchFamily="34" charset="0"/>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extLst>
                  <a:ext uri="{0D108BD9-81ED-4DB2-BD59-A6C34878D82A}">
                    <a16:rowId xmlns:a16="http://schemas.microsoft.com/office/drawing/2014/main" val="3005280977"/>
                  </a:ext>
                </a:extLst>
              </a:tr>
              <a:tr h="364418">
                <a:tc>
                  <a:txBody>
                    <a:bodyPr/>
                    <a:lstStyle/>
                    <a:p>
                      <a:pPr marL="171450" lvl="0" indent="-171450">
                        <a:buFont typeface="System Font Regular"/>
                        <a:buChar char="-"/>
                      </a:pPr>
                      <a:r>
                        <a:rPr lang="en-IN" sz="900">
                          <a:solidFill>
                            <a:schemeClr val="bg1"/>
                          </a:solidFill>
                          <a:latin typeface="Ubuntu" panose="020B0504030602030204" pitchFamily="34" charset="0"/>
                        </a:rPr>
                        <a:t>Apex</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alpha val="79688"/>
                      </a:schemeClr>
                    </a:solidFill>
                  </a:tcPr>
                </a:tc>
                <a:tc>
                  <a:txBody>
                    <a:bodyPr/>
                    <a:lstStyle/>
                    <a:p>
                      <a:pPr algn="ctr"/>
                      <a:endParaRPr lang="en-IN" sz="900">
                        <a:solidFill>
                          <a:schemeClr val="bg1"/>
                        </a:solidFill>
                        <a:latin typeface="Ubuntu" panose="020B0504030602030204" pitchFamily="34" charset="0"/>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endParaRPr lang="en-IN" sz="900">
                        <a:solidFill>
                          <a:schemeClr val="bg1"/>
                        </a:solidFill>
                        <a:latin typeface="Ubuntu" panose="020B0504030602030204" pitchFamily="34" charset="0"/>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endParaRPr lang="en-IN" sz="900">
                        <a:solidFill>
                          <a:schemeClr val="bg1"/>
                        </a:solidFill>
                        <a:latin typeface="Ubuntu" panose="020B0504030602030204" pitchFamily="34" charset="0"/>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extLst>
                  <a:ext uri="{0D108BD9-81ED-4DB2-BD59-A6C34878D82A}">
                    <a16:rowId xmlns:a16="http://schemas.microsoft.com/office/drawing/2014/main" val="4179898930"/>
                  </a:ext>
                </a:extLst>
              </a:tr>
              <a:tr h="364418">
                <a:tc>
                  <a:txBody>
                    <a:bodyPr/>
                    <a:lstStyle/>
                    <a:p>
                      <a:pPr marL="171450" lvl="0" indent="-171450">
                        <a:buFont typeface="System Font Regular"/>
                        <a:buChar char="-"/>
                      </a:pPr>
                      <a:r>
                        <a:rPr lang="en-IN" sz="900">
                          <a:solidFill>
                            <a:schemeClr val="bg1"/>
                          </a:solidFill>
                          <a:latin typeface="Ubuntu" panose="020B0504030602030204" pitchFamily="34" charset="0"/>
                        </a:rPr>
                        <a:t>Apex Test Class</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alpha val="79688"/>
                      </a:schemeClr>
                    </a:solidFill>
                  </a:tcPr>
                </a:tc>
                <a:tc>
                  <a:txBody>
                    <a:bodyPr/>
                    <a:lstStyle/>
                    <a:p>
                      <a:endParaRPr lang="en-IN" sz="900">
                        <a:solidFill>
                          <a:schemeClr val="bg1"/>
                        </a:solidFill>
                        <a:latin typeface="Ubuntu" panose="020B0504030602030204" pitchFamily="34" charset="0"/>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endParaRPr lang="en-IN" sz="900">
                        <a:solidFill>
                          <a:schemeClr val="bg1"/>
                        </a:solidFill>
                        <a:latin typeface="Ubuntu" panose="020B0504030602030204" pitchFamily="34" charset="0"/>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endParaRPr lang="en-IN" sz="900">
                        <a:solidFill>
                          <a:schemeClr val="bg1"/>
                        </a:solidFill>
                        <a:latin typeface="Ubuntu" panose="020B0504030602030204" pitchFamily="34" charset="0"/>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extLst>
                  <a:ext uri="{0D108BD9-81ED-4DB2-BD59-A6C34878D82A}">
                    <a16:rowId xmlns:a16="http://schemas.microsoft.com/office/drawing/2014/main" val="1698953670"/>
                  </a:ext>
                </a:extLst>
              </a:tr>
              <a:tr h="364418">
                <a:tc>
                  <a:txBody>
                    <a:bodyPr/>
                    <a:lstStyle/>
                    <a:p>
                      <a:pPr marL="171450" lvl="0" indent="-171450">
                        <a:buFont typeface="System Font Regular"/>
                        <a:buChar char="-"/>
                      </a:pPr>
                      <a:r>
                        <a:rPr lang="en-IN" sz="900">
                          <a:solidFill>
                            <a:schemeClr val="bg1"/>
                          </a:solidFill>
                          <a:latin typeface="Ubuntu" panose="020B0504030602030204" pitchFamily="34" charset="0"/>
                        </a:rPr>
                        <a:t>Configuration, Flows*</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alpha val="79688"/>
                      </a:schemeClr>
                    </a:solidFill>
                  </a:tcPr>
                </a:tc>
                <a:tc>
                  <a:txBody>
                    <a:bodyPr/>
                    <a:lstStyle/>
                    <a:p>
                      <a:endParaRPr lang="en-IN" sz="900">
                        <a:solidFill>
                          <a:schemeClr val="bg1"/>
                        </a:solidFill>
                        <a:latin typeface="Ubuntu" panose="020B0504030602030204" pitchFamily="34" charset="0"/>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endParaRPr lang="en-IN" sz="900">
                        <a:solidFill>
                          <a:schemeClr val="bg1"/>
                        </a:solidFill>
                        <a:latin typeface="Ubuntu" panose="020B0504030602030204" pitchFamily="34" charset="0"/>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endParaRPr lang="en-IN" sz="900">
                        <a:solidFill>
                          <a:schemeClr val="bg1"/>
                        </a:solidFill>
                        <a:latin typeface="Ubuntu" panose="020B0504030602030204" pitchFamily="34" charset="0"/>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extLst>
                  <a:ext uri="{0D108BD9-81ED-4DB2-BD59-A6C34878D82A}">
                    <a16:rowId xmlns:a16="http://schemas.microsoft.com/office/drawing/2014/main" val="2245591607"/>
                  </a:ext>
                </a:extLst>
              </a:tr>
              <a:tr h="364418">
                <a:tc>
                  <a:txBody>
                    <a:bodyPr/>
                    <a:lstStyle/>
                    <a:p>
                      <a:pPr marL="0" marR="0" lvl="0" indent="0" algn="l" defTabSz="914400" rtl="0" eaLnBrk="1" fontAlgn="auto" latinLnBrk="0" hangingPunct="1">
                        <a:lnSpc>
                          <a:spcPct val="100000"/>
                        </a:lnSpc>
                        <a:spcBef>
                          <a:spcPts val="0"/>
                        </a:spcBef>
                        <a:spcAft>
                          <a:spcPts val="0"/>
                        </a:spcAft>
                        <a:buClrTx/>
                        <a:buSzTx/>
                        <a:buFont typeface="System Font Regular"/>
                        <a:buNone/>
                        <a:tabLst/>
                        <a:defRPr/>
                      </a:pPr>
                      <a:r>
                        <a:rPr lang="en-IN" sz="1050" b="1">
                          <a:solidFill>
                            <a:schemeClr val="accent5">
                              <a:lumMod val="60000"/>
                              <a:lumOff val="40000"/>
                            </a:schemeClr>
                          </a:solidFill>
                          <a:latin typeface="Ubuntu" panose="020B0504030602030204" pitchFamily="34" charset="0"/>
                        </a:rPr>
                        <a:t>Cost </a:t>
                      </a:r>
                      <a:endParaRPr lang="en-IN" sz="1050">
                        <a:solidFill>
                          <a:schemeClr val="bg1"/>
                        </a:solidFill>
                        <a:latin typeface="Ubuntu" panose="020B0504030602030204" pitchFamily="34" charset="0"/>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alpha val="79688"/>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chemeClr val="bg1"/>
                          </a:solidFill>
                          <a:effectLst/>
                          <a:uLnTx/>
                          <a:uFillTx/>
                          <a:latin typeface="Ubuntu" panose="020B0504030602030204" pitchFamily="34" charset="0"/>
                          <a:ea typeface="+mn-ea"/>
                          <a:cs typeface="+mn-cs"/>
                        </a:rPr>
                        <a:t>15 $ / User/Month</a:t>
                      </a:r>
                      <a:endParaRPr kumimoji="0" lang="en-IN" sz="1200" b="0" i="0" u="none" strike="noStrike" kern="1200" cap="none" spc="0" normalizeH="0" baseline="0" noProof="0">
                        <a:ln>
                          <a:noFill/>
                        </a:ln>
                        <a:solidFill>
                          <a:srgbClr val="FFC000"/>
                        </a:solidFill>
                        <a:effectLst/>
                        <a:uLnTx/>
                        <a:uFillTx/>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chemeClr val="bg1"/>
                          </a:solidFill>
                          <a:effectLst/>
                          <a:uLnTx/>
                          <a:uFillTx/>
                          <a:latin typeface="Ubuntu" panose="020B0504030602030204" pitchFamily="34" charset="0"/>
                          <a:ea typeface="+mn-ea"/>
                          <a:cs typeface="+mn-cs"/>
                        </a:rPr>
                        <a:t>~ 40 – 60 $ / User/Month</a:t>
                      </a:r>
                      <a:endParaRPr kumimoji="0" lang="en-IN" sz="1200" b="0" i="0" u="none" strike="noStrike" kern="1200" cap="none" spc="0" normalizeH="0" baseline="0" noProof="0">
                        <a:ln>
                          <a:noFill/>
                        </a:ln>
                        <a:solidFill>
                          <a:srgbClr val="FFC000"/>
                        </a:solidFill>
                        <a:effectLst/>
                        <a:uLnTx/>
                        <a:uFillTx/>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chemeClr val="bg1"/>
                          </a:solidFill>
                          <a:effectLst/>
                          <a:uLnTx/>
                          <a:uFillTx/>
                          <a:latin typeface="Ubuntu" panose="020B0504030602030204" pitchFamily="34" charset="0"/>
                          <a:ea typeface="+mn-ea"/>
                          <a:cs typeface="+mn-cs"/>
                        </a:rPr>
                        <a:t>Free</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extLst>
                  <a:ext uri="{0D108BD9-81ED-4DB2-BD59-A6C34878D82A}">
                    <a16:rowId xmlns:a16="http://schemas.microsoft.com/office/drawing/2014/main" val="3701822620"/>
                  </a:ext>
                </a:extLst>
              </a:tr>
              <a:tr h="1354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600" b="1">
                        <a:solidFill>
                          <a:schemeClr val="accent5">
                            <a:lumMod val="60000"/>
                            <a:lumOff val="40000"/>
                          </a:schemeClr>
                        </a:solidFill>
                        <a:latin typeface="Ubuntu" panose="020B0504030602030204" pitchFamily="34" charset="0"/>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alpha val="79688"/>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600" b="0" i="0" u="none" strike="noStrike" kern="1200" cap="none" spc="0" normalizeH="0" baseline="0" noProof="0">
                        <a:ln>
                          <a:noFill/>
                        </a:ln>
                        <a:solidFill>
                          <a:srgbClr val="FFC000"/>
                        </a:solidFill>
                        <a:effectLst/>
                        <a:uLnTx/>
                        <a:uFillTx/>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600" b="0" i="0" u="none" strike="noStrike" kern="1200" cap="none" spc="0" normalizeH="0" baseline="0" noProof="0">
                        <a:ln>
                          <a:noFill/>
                        </a:ln>
                        <a:solidFill>
                          <a:srgbClr val="FFC000"/>
                        </a:solidFill>
                        <a:effectLst/>
                        <a:uLnTx/>
                        <a:uFillTx/>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600" b="1"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extLst>
                  <a:ext uri="{0D108BD9-81ED-4DB2-BD59-A6C34878D82A}">
                    <a16:rowId xmlns:a16="http://schemas.microsoft.com/office/drawing/2014/main" val="3898947239"/>
                  </a:ext>
                </a:extLst>
              </a:tr>
              <a:tr h="3644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050" b="1">
                          <a:solidFill>
                            <a:schemeClr val="accent5">
                              <a:lumMod val="60000"/>
                              <a:lumOff val="40000"/>
                            </a:schemeClr>
                          </a:solidFill>
                          <a:latin typeface="Ubuntu" panose="020B0504030602030204" pitchFamily="34" charset="0"/>
                        </a:rPr>
                        <a:t>Other SDLC Phases</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FFC000"/>
                        </a:solidFill>
                        <a:effectLst/>
                        <a:uLnTx/>
                        <a:uFillTx/>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FFC000"/>
                        </a:solidFill>
                        <a:effectLst/>
                        <a:uLnTx/>
                        <a:uFillTx/>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FFC000"/>
                        </a:solidFill>
                        <a:effectLst/>
                        <a:uLnTx/>
                        <a:uFillTx/>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schemeClr>
                    </a:solidFill>
                  </a:tcPr>
                </a:tc>
                <a:extLst>
                  <a:ext uri="{0D108BD9-81ED-4DB2-BD59-A6C34878D82A}">
                    <a16:rowId xmlns:a16="http://schemas.microsoft.com/office/drawing/2014/main" val="3242136181"/>
                  </a:ext>
                </a:extLst>
              </a:tr>
              <a:tr h="364418">
                <a:tc>
                  <a:txBody>
                    <a:bodyPr/>
                    <a:lstStyle/>
                    <a:p>
                      <a:pPr marL="0" algn="l" defTabSz="914400" rtl="0" eaLnBrk="1" latinLnBrk="0" hangingPunct="1"/>
                      <a:r>
                        <a:rPr lang="en-IN" sz="1050" b="1" kern="1200">
                          <a:solidFill>
                            <a:schemeClr val="accent5">
                              <a:lumMod val="60000"/>
                              <a:lumOff val="40000"/>
                            </a:schemeClr>
                          </a:solidFill>
                          <a:latin typeface="Ubuntu" panose="020B0504030602030204" pitchFamily="34" charset="0"/>
                          <a:ea typeface="+mn-ea"/>
                          <a:cs typeface="+mn-cs"/>
                        </a:rPr>
                        <a:t>FR/US CREATION</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alpha val="79688"/>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FFC000"/>
                        </a:solidFill>
                        <a:effectLst/>
                        <a:uLnTx/>
                        <a:uFillTx/>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FFC000"/>
                          </a:solidFill>
                          <a:effectLst/>
                          <a:uLnTx/>
                          <a:uFillTx/>
                          <a:latin typeface="Ubuntu" panose="020B0504030602030204" pitchFamily="34" charset="0"/>
                          <a:ea typeface="+mn-ea"/>
                          <a:cs typeface="+mn-cs"/>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extLst>
                  <a:ext uri="{0D108BD9-81ED-4DB2-BD59-A6C34878D82A}">
                    <a16:rowId xmlns:a16="http://schemas.microsoft.com/office/drawing/2014/main" val="3965982175"/>
                  </a:ext>
                </a:extLst>
              </a:tr>
              <a:tr h="3878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050" b="1">
                          <a:solidFill>
                            <a:schemeClr val="accent5">
                              <a:lumMod val="60000"/>
                              <a:lumOff val="40000"/>
                            </a:schemeClr>
                          </a:solidFill>
                          <a:latin typeface="Ubuntu" panose="020B0504030602030204" pitchFamily="34" charset="0"/>
                        </a:rPr>
                        <a:t>DISCOVERY/DESIGN</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alpha val="79688"/>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1"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FFC000"/>
                        </a:solidFill>
                        <a:effectLst/>
                        <a:uLnTx/>
                        <a:uFillTx/>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extLst>
                  <a:ext uri="{0D108BD9-81ED-4DB2-BD59-A6C34878D82A}">
                    <a16:rowId xmlns:a16="http://schemas.microsoft.com/office/drawing/2014/main" val="1256044956"/>
                  </a:ext>
                </a:extLst>
              </a:tr>
              <a:tr h="364418">
                <a:tc>
                  <a:txBody>
                    <a:bodyPr/>
                    <a:lstStyle/>
                    <a:p>
                      <a:r>
                        <a:rPr lang="en-IN" sz="1050" b="1">
                          <a:solidFill>
                            <a:schemeClr val="accent5">
                              <a:lumMod val="60000"/>
                              <a:lumOff val="40000"/>
                            </a:schemeClr>
                          </a:solidFill>
                          <a:latin typeface="Ubuntu" panose="020B0504030602030204" pitchFamily="34" charset="0"/>
                        </a:rPr>
                        <a:t>Testing</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alpha val="79688"/>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FFC000"/>
                        </a:solidFill>
                        <a:effectLst/>
                        <a:uLnTx/>
                        <a:uFillTx/>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FFC000"/>
                        </a:solidFill>
                        <a:effectLst/>
                        <a:uLnTx/>
                        <a:uFillTx/>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FFC000"/>
                        </a:solidFill>
                        <a:effectLst/>
                        <a:uLnTx/>
                        <a:uFillTx/>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extLst>
                  <a:ext uri="{0D108BD9-81ED-4DB2-BD59-A6C34878D82A}">
                    <a16:rowId xmlns:a16="http://schemas.microsoft.com/office/drawing/2014/main" val="884578759"/>
                  </a:ext>
                </a:extLst>
              </a:tr>
              <a:tr h="364418">
                <a:tc>
                  <a:txBody>
                    <a:bodyPr/>
                    <a:lstStyle/>
                    <a:p>
                      <a:r>
                        <a:rPr lang="en-IN" sz="1050" b="1">
                          <a:solidFill>
                            <a:schemeClr val="accent5">
                              <a:lumMod val="60000"/>
                              <a:lumOff val="40000"/>
                            </a:schemeClr>
                          </a:solidFill>
                          <a:latin typeface="Ubuntu" panose="020B0504030602030204" pitchFamily="34" charset="0"/>
                        </a:rPr>
                        <a:t>Cos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alpha val="79688"/>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chemeClr val="bg1"/>
                          </a:solidFill>
                          <a:effectLst/>
                          <a:uLnTx/>
                          <a:uFillTx/>
                          <a:latin typeface="Ubuntu" panose="020B0504030602030204" pitchFamily="34" charset="0"/>
                          <a:ea typeface="+mn-ea"/>
                          <a:cs typeface="+mn-cs"/>
                        </a:rPr>
                        <a:t>Free for CG</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chemeClr val="bg1"/>
                          </a:solidFill>
                          <a:effectLst/>
                          <a:uLnTx/>
                          <a:uFillTx/>
                          <a:latin typeface="Ubuntu" panose="020B0504030602030204" pitchFamily="34" charset="0"/>
                          <a:ea typeface="+mn-ea"/>
                          <a:cs typeface="+mn-cs"/>
                        </a:rPr>
                        <a:t>~ 40-60 $ / User/Month</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chemeClr val="bg1"/>
                          </a:solidFill>
                          <a:effectLst/>
                          <a:uLnTx/>
                          <a:uFillTx/>
                          <a:latin typeface="Ubuntu" panose="020B0504030602030204" pitchFamily="34" charset="0"/>
                          <a:ea typeface="+mn-ea"/>
                          <a:cs typeface="+mn-cs"/>
                        </a:rPr>
                        <a:t>Free for CG</a:t>
                      </a:r>
                      <a:endParaRPr kumimoji="0" lang="en-IN" sz="1200" b="0" i="0" u="none" strike="noStrike" kern="1200" cap="none" spc="0" normalizeH="0" baseline="0" noProof="0">
                        <a:ln>
                          <a:noFill/>
                        </a:ln>
                        <a:solidFill>
                          <a:srgbClr val="FFC000"/>
                        </a:solidFill>
                        <a:effectLst/>
                        <a:uLnTx/>
                        <a:uFillTx/>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extLst>
                  <a:ext uri="{0D108BD9-81ED-4DB2-BD59-A6C34878D82A}">
                    <a16:rowId xmlns:a16="http://schemas.microsoft.com/office/drawing/2014/main" val="3415190238"/>
                  </a:ext>
                </a:extLst>
              </a:tr>
              <a:tr h="364418">
                <a:tc>
                  <a:txBody>
                    <a:bodyPr/>
                    <a:lstStyle/>
                    <a:p>
                      <a:r>
                        <a:rPr lang="en-IN" sz="1050" b="1">
                          <a:solidFill>
                            <a:schemeClr val="accent5">
                              <a:lumMod val="60000"/>
                              <a:lumOff val="40000"/>
                            </a:schemeClr>
                          </a:solidFill>
                          <a:latin typeface="Ubuntu" panose="020B0504030602030204" pitchFamily="34" charset="0"/>
                        </a:rPr>
                        <a:t>Project Management</a:t>
                      </a:r>
                    </a:p>
                    <a:p>
                      <a:r>
                        <a:rPr lang="en-IN" sz="1050" b="1">
                          <a:solidFill>
                            <a:schemeClr val="accent5">
                              <a:lumMod val="60000"/>
                              <a:lumOff val="40000"/>
                            </a:schemeClr>
                          </a:solidFill>
                          <a:latin typeface="Ubuntu" panose="020B0504030602030204" pitchFamily="34" charset="0"/>
                        </a:rPr>
                        <a:t>( Leads, Scrum M, BA)</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alpha val="79688"/>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srgbClr val="FFC000"/>
                        </a:solidFill>
                        <a:effectLst/>
                        <a:uLnTx/>
                        <a:uFillTx/>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extLst>
                  <a:ext uri="{0D108BD9-81ED-4DB2-BD59-A6C34878D82A}">
                    <a16:rowId xmlns:a16="http://schemas.microsoft.com/office/drawing/2014/main" val="3557892657"/>
                  </a:ext>
                </a:extLst>
              </a:tr>
              <a:tr h="364418">
                <a:tc>
                  <a:txBody>
                    <a:bodyPr/>
                    <a:lstStyle/>
                    <a:p>
                      <a:r>
                        <a:rPr lang="en-IN" sz="1050" b="1">
                          <a:solidFill>
                            <a:schemeClr val="accent5">
                              <a:lumMod val="60000"/>
                              <a:lumOff val="40000"/>
                            </a:schemeClr>
                          </a:solidFill>
                          <a:latin typeface="Ubuntu" panose="020B0504030602030204" pitchFamily="34" charset="0"/>
                        </a:rPr>
                        <a:t>Cos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alpha val="79688"/>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chemeClr val="bg1"/>
                          </a:solidFill>
                          <a:effectLst/>
                          <a:uLnTx/>
                          <a:uFillTx/>
                          <a:latin typeface="Ubuntu" panose="020B0504030602030204" pitchFamily="34" charset="0"/>
                          <a:ea typeface="+mn-ea"/>
                          <a:cs typeface="+mn-cs"/>
                        </a:rPr>
                        <a:t>30 $ / User</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chemeClr val="bg1"/>
                          </a:solidFill>
                          <a:effectLst/>
                          <a:uLnTx/>
                          <a:uFillTx/>
                          <a:latin typeface="Ubuntu" panose="020B0504030602030204" pitchFamily="34" charset="0"/>
                          <a:ea typeface="+mn-ea"/>
                          <a:cs typeface="+mn-cs"/>
                        </a:rPr>
                        <a:t>30 $ / User</a:t>
                      </a:r>
                      <a:endParaRPr kumimoji="0" lang="en-IN" sz="1200" b="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Ubuntu" panose="020B0504030602030204" pitchFamily="34" charset="0"/>
                          <a:ea typeface="+mn-ea"/>
                          <a:cs typeface="+mn-cs"/>
                        </a:rPr>
                        <a:t>30 $ / User</a:t>
                      </a:r>
                      <a:endParaRPr kumimoji="0" lang="en-IN" sz="1200" b="0" i="0" u="none" strike="noStrike" kern="1200" cap="none" spc="0" normalizeH="0" baseline="0" noProof="0" dirty="0">
                        <a:ln>
                          <a:noFill/>
                        </a:ln>
                        <a:solidFill>
                          <a:srgbClr val="FFC000"/>
                        </a:solidFill>
                        <a:effectLst/>
                        <a:uLnTx/>
                        <a:uFillTx/>
                        <a:latin typeface="Ubuntu" panose="020B0504030602030204" pitchFamily="34" charset="0"/>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alpha val="48000"/>
                      </a:schemeClr>
                    </a:solidFill>
                  </a:tcPr>
                </a:tc>
                <a:extLst>
                  <a:ext uri="{0D108BD9-81ED-4DB2-BD59-A6C34878D82A}">
                    <a16:rowId xmlns:a16="http://schemas.microsoft.com/office/drawing/2014/main" val="3562176206"/>
                  </a:ext>
                </a:extLst>
              </a:tr>
            </a:tbl>
          </a:graphicData>
        </a:graphic>
      </p:graphicFrame>
      <p:pic>
        <p:nvPicPr>
          <p:cNvPr id="8372" name="Picture 8" descr="Microsoft Teams Premium Unveils ChatGPT Integration | TOS - TECHOM Systems">
            <a:extLst>
              <a:ext uri="{FF2B5EF4-FFF2-40B4-BE49-F238E27FC236}">
                <a16:creationId xmlns:a16="http://schemas.microsoft.com/office/drawing/2014/main" id="{18B181E5-FEC1-0D84-D3CF-12D93543B8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6200000">
            <a:off x="-1584168" y="3486699"/>
            <a:ext cx="4396683" cy="1210058"/>
          </a:xfrm>
          <a:prstGeom prst="rect">
            <a:avLst/>
          </a:prstGeom>
          <a:noFill/>
          <a:extLst>
            <a:ext uri="{909E8E84-426E-40DD-AFC4-6F175D3DCCD1}">
              <a14:hiddenFill xmlns:a14="http://schemas.microsoft.com/office/drawing/2010/main">
                <a:solidFill>
                  <a:srgbClr val="FFFFFF"/>
                </a:solidFill>
              </a14:hiddenFill>
            </a:ext>
          </a:extLst>
        </p:spPr>
      </p:pic>
      <p:grpSp>
        <p:nvGrpSpPr>
          <p:cNvPr id="8373" name="Group 8372">
            <a:extLst>
              <a:ext uri="{FF2B5EF4-FFF2-40B4-BE49-F238E27FC236}">
                <a16:creationId xmlns:a16="http://schemas.microsoft.com/office/drawing/2014/main" id="{E6486EAA-697E-6107-B47B-26BC14F1497D}"/>
              </a:ext>
            </a:extLst>
          </p:cNvPr>
          <p:cNvGrpSpPr/>
          <p:nvPr/>
        </p:nvGrpSpPr>
        <p:grpSpPr>
          <a:xfrm>
            <a:off x="71649" y="1891806"/>
            <a:ext cx="1141457" cy="3664616"/>
            <a:chOff x="-1437515" y="1862928"/>
            <a:chExt cx="1315288" cy="3664616"/>
          </a:xfrm>
        </p:grpSpPr>
        <p:pic>
          <p:nvPicPr>
            <p:cNvPr id="8369" name="Picture 8368">
              <a:extLst>
                <a:ext uri="{FF2B5EF4-FFF2-40B4-BE49-F238E27FC236}">
                  <a16:creationId xmlns:a16="http://schemas.microsoft.com/office/drawing/2014/main" id="{4486E91B-AAC8-106B-B8F8-07D94362477B}"/>
                </a:ext>
              </a:extLst>
            </p:cNvPr>
            <p:cNvPicPr>
              <a:picLocks noChangeAspect="1"/>
            </p:cNvPicPr>
            <p:nvPr/>
          </p:nvPicPr>
          <p:blipFill>
            <a:blip r:embed="rId4"/>
            <a:stretch>
              <a:fillRect/>
            </a:stretch>
          </p:blipFill>
          <p:spPr>
            <a:xfrm>
              <a:off x="-1243545" y="2133326"/>
              <a:ext cx="1121317" cy="285765"/>
            </a:xfrm>
            <a:prstGeom prst="rect">
              <a:avLst/>
            </a:prstGeom>
          </p:spPr>
        </p:pic>
        <p:pic>
          <p:nvPicPr>
            <p:cNvPr id="8367" name="Picture 8366">
              <a:extLst>
                <a:ext uri="{FF2B5EF4-FFF2-40B4-BE49-F238E27FC236}">
                  <a16:creationId xmlns:a16="http://schemas.microsoft.com/office/drawing/2014/main" id="{1F607972-E9EF-3B15-EAE6-B1392EC60B59}"/>
                </a:ext>
              </a:extLst>
            </p:cNvPr>
            <p:cNvPicPr>
              <a:picLocks noChangeAspect="1"/>
            </p:cNvPicPr>
            <p:nvPr/>
          </p:nvPicPr>
          <p:blipFill>
            <a:blip r:embed="rId5"/>
            <a:stretch>
              <a:fillRect/>
            </a:stretch>
          </p:blipFill>
          <p:spPr>
            <a:xfrm>
              <a:off x="-1437515" y="1862928"/>
              <a:ext cx="1315287" cy="285766"/>
            </a:xfrm>
            <a:prstGeom prst="rect">
              <a:avLst/>
            </a:prstGeom>
          </p:spPr>
        </p:pic>
        <p:pic>
          <p:nvPicPr>
            <p:cNvPr id="8368" name="Picture 8367">
              <a:extLst>
                <a:ext uri="{FF2B5EF4-FFF2-40B4-BE49-F238E27FC236}">
                  <a16:creationId xmlns:a16="http://schemas.microsoft.com/office/drawing/2014/main" id="{ECC5DA21-C3BC-2C0A-9803-292D9F679FC4}"/>
                </a:ext>
              </a:extLst>
            </p:cNvPr>
            <p:cNvPicPr>
              <a:picLocks noChangeAspect="1"/>
            </p:cNvPicPr>
            <p:nvPr/>
          </p:nvPicPr>
          <p:blipFill>
            <a:blip r:embed="rId6"/>
            <a:stretch>
              <a:fillRect/>
            </a:stretch>
          </p:blipFill>
          <p:spPr>
            <a:xfrm>
              <a:off x="-1421815" y="2418184"/>
              <a:ext cx="1299588" cy="282354"/>
            </a:xfrm>
            <a:prstGeom prst="rect">
              <a:avLst/>
            </a:prstGeom>
          </p:spPr>
        </p:pic>
        <p:pic>
          <p:nvPicPr>
            <p:cNvPr id="8370" name="Picture 14" descr="testRigor Reviews [2022] – Pros, Cons, Features and Pricing - Test  Automation Tools">
              <a:extLst>
                <a:ext uri="{FF2B5EF4-FFF2-40B4-BE49-F238E27FC236}">
                  <a16:creationId xmlns:a16="http://schemas.microsoft.com/office/drawing/2014/main" id="{73CA2CB2-A884-4603-37AB-F82E4197C00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2683" b="31970"/>
            <a:stretch/>
          </p:blipFill>
          <p:spPr bwMode="auto">
            <a:xfrm>
              <a:off x="-1437513" y="5170398"/>
              <a:ext cx="1315286" cy="357146"/>
            </a:xfrm>
            <a:prstGeom prst="rect">
              <a:avLst/>
            </a:prstGeom>
            <a:noFill/>
            <a:extLst>
              <a:ext uri="{909E8E84-426E-40DD-AFC4-6F175D3DCCD1}">
                <a14:hiddenFill xmlns:a14="http://schemas.microsoft.com/office/drawing/2010/main">
                  <a:solidFill>
                    <a:srgbClr val="FFFFFF"/>
                  </a:solidFill>
                </a14:hiddenFill>
              </a:ext>
            </a:extLst>
          </p:spPr>
        </p:pic>
      </p:grpSp>
      <p:sp>
        <p:nvSpPr>
          <p:cNvPr id="8379" name="Title 2">
            <a:extLst>
              <a:ext uri="{FF2B5EF4-FFF2-40B4-BE49-F238E27FC236}">
                <a16:creationId xmlns:a16="http://schemas.microsoft.com/office/drawing/2014/main" id="{5C9E08AC-903E-D2A8-83AF-FD50EF414DA4}"/>
              </a:ext>
            </a:extLst>
          </p:cNvPr>
          <p:cNvSpPr>
            <a:spLocks noGrp="1"/>
          </p:cNvSpPr>
          <p:nvPr>
            <p:ph type="title"/>
          </p:nvPr>
        </p:nvSpPr>
        <p:spPr>
          <a:xfrm>
            <a:off x="156017" y="-21907"/>
            <a:ext cx="10947772" cy="599873"/>
          </a:xfrm>
        </p:spPr>
        <p:txBody>
          <a:bodyPr/>
          <a:lstStyle/>
          <a:p>
            <a:r>
              <a:rPr lang="en-IN"/>
              <a:t>Salesforce  PRODUCTIVITY  GAINS  - recommendation</a:t>
            </a:r>
            <a:endParaRPr lang="en-US"/>
          </a:p>
        </p:txBody>
      </p:sp>
      <p:sp>
        <p:nvSpPr>
          <p:cNvPr id="8380" name="TextBox 8379">
            <a:extLst>
              <a:ext uri="{FF2B5EF4-FFF2-40B4-BE49-F238E27FC236}">
                <a16:creationId xmlns:a16="http://schemas.microsoft.com/office/drawing/2014/main" id="{6F8B0FAA-CC53-F683-026C-105E1A0B18E3}"/>
              </a:ext>
            </a:extLst>
          </p:cNvPr>
          <p:cNvSpPr txBox="1"/>
          <p:nvPr/>
        </p:nvSpPr>
        <p:spPr>
          <a:xfrm>
            <a:off x="4254913" y="6552447"/>
            <a:ext cx="1084836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0F878A">
                    <a:lumMod val="60000"/>
                    <a:lumOff val="40000"/>
                  </a:srgbClr>
                </a:solidFill>
                <a:effectLst/>
                <a:uLnTx/>
                <a:uFillTx/>
                <a:latin typeface="Ubuntu"/>
                <a:ea typeface="+mn-ea"/>
                <a:cs typeface="+mn-cs"/>
              </a:rPr>
              <a:t>TOOL AND CAPABILITY COMPARISON ACROSS ALL SDLC PHASES</a:t>
            </a:r>
            <a:endParaRPr kumimoji="0" lang="en-US" sz="1600" b="0" i="0" u="none" strike="noStrike" kern="1200" cap="none" spc="0" normalizeH="0" baseline="0" noProof="0">
              <a:ln>
                <a:noFill/>
              </a:ln>
              <a:solidFill>
                <a:srgbClr val="0F878A">
                  <a:lumMod val="60000"/>
                  <a:lumOff val="40000"/>
                </a:srgbClr>
              </a:solidFill>
              <a:effectLst/>
              <a:uLnTx/>
              <a:uFillTx/>
              <a:latin typeface="Ubuntu"/>
              <a:ea typeface="+mn-ea"/>
              <a:cs typeface="+mn-cs"/>
            </a:endParaRPr>
          </a:p>
        </p:txBody>
      </p:sp>
      <p:pic>
        <p:nvPicPr>
          <p:cNvPr id="8383" name="Picture 10" descr="image">
            <a:extLst>
              <a:ext uri="{FF2B5EF4-FFF2-40B4-BE49-F238E27FC236}">
                <a16:creationId xmlns:a16="http://schemas.microsoft.com/office/drawing/2014/main" id="{D6C2C71D-B43A-2723-A774-695D32EB859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273" y="5548014"/>
            <a:ext cx="1127831" cy="742055"/>
          </a:xfrm>
          <a:prstGeom prst="rect">
            <a:avLst/>
          </a:prstGeom>
          <a:noFill/>
          <a:extLst>
            <a:ext uri="{909E8E84-426E-40DD-AFC4-6F175D3DCCD1}">
              <a14:hiddenFill xmlns:a14="http://schemas.microsoft.com/office/drawing/2010/main">
                <a:solidFill>
                  <a:srgbClr val="FFFFFF"/>
                </a:solidFill>
              </a14:hiddenFill>
            </a:ext>
          </a:extLst>
        </p:spPr>
      </p:pic>
      <p:sp>
        <p:nvSpPr>
          <p:cNvPr id="8386" name="Rectangle 43">
            <a:extLst>
              <a:ext uri="{FF2B5EF4-FFF2-40B4-BE49-F238E27FC236}">
                <a16:creationId xmlns:a16="http://schemas.microsoft.com/office/drawing/2014/main" id="{9B1A4FF3-8D3E-10A4-5A6C-F1BFF6B9E648}"/>
              </a:ext>
            </a:extLst>
          </p:cNvPr>
          <p:cNvSpPr/>
          <p:nvPr/>
        </p:nvSpPr>
        <p:spPr>
          <a:xfrm>
            <a:off x="11719114" y="5414901"/>
            <a:ext cx="229263" cy="215444"/>
          </a:xfrm>
          <a:prstGeom prst="rect">
            <a:avLst/>
          </a:prstGeom>
        </p:spPr>
        <p:txBody>
          <a:bodyPr wrap="squar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srgbClr val="A6A6A6"/>
                </a:solidFill>
                <a:effectLst/>
                <a:uLnTx/>
                <a:uFillTx/>
                <a:latin typeface="Ubuntu" panose="020B0504030602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A6A6A6"/>
              </a:solidFill>
              <a:effectLst/>
              <a:uLnTx/>
              <a:uFillTx/>
              <a:latin typeface="Ubuntu" panose="020B0504030602030204" pitchFamily="34" charset="0"/>
              <a:ea typeface="+mn-ea"/>
              <a:cs typeface="Arial" panose="020B0604020202020204" pitchFamily="34" charset="0"/>
            </a:endParaRPr>
          </a:p>
        </p:txBody>
      </p:sp>
      <p:sp>
        <p:nvSpPr>
          <p:cNvPr id="8505" name="Title 1">
            <a:extLst>
              <a:ext uri="{FF2B5EF4-FFF2-40B4-BE49-F238E27FC236}">
                <a16:creationId xmlns:a16="http://schemas.microsoft.com/office/drawing/2014/main" id="{BEC16F0F-0611-2BF3-72E8-2EDAF627DB96}"/>
              </a:ext>
            </a:extLst>
          </p:cNvPr>
          <p:cNvSpPr txBox="1">
            <a:spLocks/>
          </p:cNvSpPr>
          <p:nvPr/>
        </p:nvSpPr>
        <p:spPr>
          <a:xfrm>
            <a:off x="6707123" y="4009271"/>
            <a:ext cx="2966842" cy="261784"/>
          </a:xfrm>
          <a:prstGeom prst="rect">
            <a:avLst/>
          </a:prstGeom>
        </p:spPr>
        <p:txBody>
          <a:bodyPr vert="horz" lIns="0" tIns="0" rIns="0" bIns="0" rtlCol="0" anchor="t">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a:ln>
                  <a:noFill/>
                </a:ln>
                <a:solidFill>
                  <a:schemeClr val="bg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1500" b="0" i="0" u="none" strike="noStrike" kern="1200" cap="all" spc="0" normalizeH="0" baseline="0" noProof="0">
                <a:ln>
                  <a:noFill/>
                </a:ln>
                <a:solidFill>
                  <a:srgbClr val="FFFFFF"/>
                </a:solidFill>
                <a:effectLst/>
                <a:uLnTx/>
                <a:uFillTx/>
                <a:latin typeface="Ubuntu Medium"/>
                <a:ea typeface="+mj-ea"/>
                <a:cs typeface="+mj-cs"/>
              </a:rPr>
              <a:t>GEN AI for cx foundry</a:t>
            </a:r>
            <a:endParaRPr kumimoji="0" lang="en-SE" sz="1500" b="0" i="0" u="none" strike="noStrike" kern="1200" cap="all" spc="0" normalizeH="0" baseline="0" noProof="0">
              <a:ln>
                <a:noFill/>
              </a:ln>
              <a:solidFill>
                <a:srgbClr val="FFFFFF"/>
              </a:solidFill>
              <a:effectLst/>
              <a:uLnTx/>
              <a:uFillTx/>
              <a:latin typeface="Ubuntu Medium"/>
              <a:ea typeface="+mj-ea"/>
              <a:cs typeface="+mj-cs"/>
            </a:endParaRPr>
          </a:p>
        </p:txBody>
      </p:sp>
      <p:pic>
        <p:nvPicPr>
          <p:cNvPr id="8507" name="Picture 8506">
            <a:extLst>
              <a:ext uri="{FF2B5EF4-FFF2-40B4-BE49-F238E27FC236}">
                <a16:creationId xmlns:a16="http://schemas.microsoft.com/office/drawing/2014/main" id="{E1FF81AE-F96F-9573-0EB8-CCCB12579968}"/>
              </a:ext>
            </a:extLst>
          </p:cNvPr>
          <p:cNvPicPr>
            <a:picLocks noChangeAspect="1"/>
          </p:cNvPicPr>
          <p:nvPr/>
        </p:nvPicPr>
        <p:blipFill>
          <a:blip r:embed="rId9"/>
          <a:stretch>
            <a:fillRect/>
          </a:stretch>
        </p:blipFill>
        <p:spPr>
          <a:xfrm>
            <a:off x="3601125" y="947165"/>
            <a:ext cx="747363" cy="261972"/>
          </a:xfrm>
          <a:prstGeom prst="rect">
            <a:avLst/>
          </a:prstGeom>
        </p:spPr>
      </p:pic>
      <p:pic>
        <p:nvPicPr>
          <p:cNvPr id="8510" name="Picture 8509">
            <a:extLst>
              <a:ext uri="{FF2B5EF4-FFF2-40B4-BE49-F238E27FC236}">
                <a16:creationId xmlns:a16="http://schemas.microsoft.com/office/drawing/2014/main" id="{7E181BBB-4B21-9070-78DD-8043014E4A49}"/>
              </a:ext>
            </a:extLst>
          </p:cNvPr>
          <p:cNvPicPr>
            <a:picLocks noChangeAspect="1"/>
          </p:cNvPicPr>
          <p:nvPr/>
        </p:nvPicPr>
        <p:blipFill>
          <a:blip r:embed="rId10"/>
          <a:stretch>
            <a:fillRect/>
          </a:stretch>
        </p:blipFill>
        <p:spPr>
          <a:xfrm>
            <a:off x="4334452" y="945787"/>
            <a:ext cx="1687647" cy="279598"/>
          </a:xfrm>
          <a:prstGeom prst="rect">
            <a:avLst/>
          </a:prstGeom>
        </p:spPr>
      </p:pic>
      <p:pic>
        <p:nvPicPr>
          <p:cNvPr id="2" name="Picture 1">
            <a:extLst>
              <a:ext uri="{FF2B5EF4-FFF2-40B4-BE49-F238E27FC236}">
                <a16:creationId xmlns:a16="http://schemas.microsoft.com/office/drawing/2014/main" id="{404D932F-5B6D-D26F-C372-86DC0BA53BD0}"/>
              </a:ext>
            </a:extLst>
          </p:cNvPr>
          <p:cNvPicPr>
            <a:picLocks noChangeAspect="1"/>
          </p:cNvPicPr>
          <p:nvPr/>
        </p:nvPicPr>
        <p:blipFill>
          <a:blip r:embed="rId11"/>
          <a:stretch>
            <a:fillRect/>
          </a:stretch>
        </p:blipFill>
        <p:spPr>
          <a:xfrm>
            <a:off x="6232500" y="3986478"/>
            <a:ext cx="437140" cy="385636"/>
          </a:xfrm>
          <a:prstGeom prst="rect">
            <a:avLst/>
          </a:prstGeom>
        </p:spPr>
      </p:pic>
      <p:sp>
        <p:nvSpPr>
          <p:cNvPr id="5" name="Star: 5 Points 373">
            <a:extLst>
              <a:ext uri="{FF2B5EF4-FFF2-40B4-BE49-F238E27FC236}">
                <a16:creationId xmlns:a16="http://schemas.microsoft.com/office/drawing/2014/main" id="{296BCC9B-76E5-1D29-C7B8-074D04505149}"/>
              </a:ext>
            </a:extLst>
          </p:cNvPr>
          <p:cNvSpPr/>
          <p:nvPr/>
        </p:nvSpPr>
        <p:spPr>
          <a:xfrm>
            <a:off x="9460676" y="4426631"/>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6" name="Star: 5 Points 374">
            <a:extLst>
              <a:ext uri="{FF2B5EF4-FFF2-40B4-BE49-F238E27FC236}">
                <a16:creationId xmlns:a16="http://schemas.microsoft.com/office/drawing/2014/main" id="{AE07939A-8572-C317-C282-8EA122DF35D8}"/>
              </a:ext>
            </a:extLst>
          </p:cNvPr>
          <p:cNvSpPr/>
          <p:nvPr/>
        </p:nvSpPr>
        <p:spPr>
          <a:xfrm>
            <a:off x="9747551" y="4426631"/>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9" name="Star: 5 Points 376">
            <a:extLst>
              <a:ext uri="{FF2B5EF4-FFF2-40B4-BE49-F238E27FC236}">
                <a16:creationId xmlns:a16="http://schemas.microsoft.com/office/drawing/2014/main" id="{EEE33F36-3C36-E409-1978-03CA91AB9238}"/>
              </a:ext>
            </a:extLst>
          </p:cNvPr>
          <p:cNvSpPr/>
          <p:nvPr/>
        </p:nvSpPr>
        <p:spPr>
          <a:xfrm>
            <a:off x="10321647" y="4426631"/>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10" name="Star: 5 Points 377">
            <a:extLst>
              <a:ext uri="{FF2B5EF4-FFF2-40B4-BE49-F238E27FC236}">
                <a16:creationId xmlns:a16="http://schemas.microsoft.com/office/drawing/2014/main" id="{92BF98E8-63EE-BD81-8A44-63B4B9B142BD}"/>
              </a:ext>
            </a:extLst>
          </p:cNvPr>
          <p:cNvSpPr/>
          <p:nvPr/>
        </p:nvSpPr>
        <p:spPr>
          <a:xfrm>
            <a:off x="10602133" y="4426631"/>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12" name="Star: 5 Points 373">
            <a:extLst>
              <a:ext uri="{FF2B5EF4-FFF2-40B4-BE49-F238E27FC236}">
                <a16:creationId xmlns:a16="http://schemas.microsoft.com/office/drawing/2014/main" id="{2C26CE86-8841-EDFA-EA1F-381C9B02CD33}"/>
              </a:ext>
            </a:extLst>
          </p:cNvPr>
          <p:cNvSpPr/>
          <p:nvPr/>
        </p:nvSpPr>
        <p:spPr>
          <a:xfrm>
            <a:off x="9466703" y="4793148"/>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13" name="Star: 5 Points 374">
            <a:extLst>
              <a:ext uri="{FF2B5EF4-FFF2-40B4-BE49-F238E27FC236}">
                <a16:creationId xmlns:a16="http://schemas.microsoft.com/office/drawing/2014/main" id="{3664AE85-1949-6EE8-5F99-83582DF7E1CA}"/>
              </a:ext>
            </a:extLst>
          </p:cNvPr>
          <p:cNvSpPr/>
          <p:nvPr/>
        </p:nvSpPr>
        <p:spPr>
          <a:xfrm>
            <a:off x="9753578" y="4793148"/>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14" name="Star: 5 Points 375">
            <a:extLst>
              <a:ext uri="{FF2B5EF4-FFF2-40B4-BE49-F238E27FC236}">
                <a16:creationId xmlns:a16="http://schemas.microsoft.com/office/drawing/2014/main" id="{EC8A9427-6CE2-350D-516A-1C347BD098F1}"/>
              </a:ext>
            </a:extLst>
          </p:cNvPr>
          <p:cNvSpPr/>
          <p:nvPr/>
        </p:nvSpPr>
        <p:spPr>
          <a:xfrm>
            <a:off x="10047656" y="4793148"/>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15" name="Star: 5 Points 376">
            <a:extLst>
              <a:ext uri="{FF2B5EF4-FFF2-40B4-BE49-F238E27FC236}">
                <a16:creationId xmlns:a16="http://schemas.microsoft.com/office/drawing/2014/main" id="{6D0521F5-15A5-1523-084A-C75D1F63C571}"/>
              </a:ext>
            </a:extLst>
          </p:cNvPr>
          <p:cNvSpPr/>
          <p:nvPr/>
        </p:nvSpPr>
        <p:spPr>
          <a:xfrm>
            <a:off x="10327674" y="4793148"/>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16" name="Star: 5 Points 377">
            <a:extLst>
              <a:ext uri="{FF2B5EF4-FFF2-40B4-BE49-F238E27FC236}">
                <a16:creationId xmlns:a16="http://schemas.microsoft.com/office/drawing/2014/main" id="{25B65C5E-1C91-2E86-253D-159A40EA6134}"/>
              </a:ext>
            </a:extLst>
          </p:cNvPr>
          <p:cNvSpPr/>
          <p:nvPr/>
        </p:nvSpPr>
        <p:spPr>
          <a:xfrm>
            <a:off x="10608160" y="4793148"/>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17" name="Star: 5 Points 373">
            <a:extLst>
              <a:ext uri="{FF2B5EF4-FFF2-40B4-BE49-F238E27FC236}">
                <a16:creationId xmlns:a16="http://schemas.microsoft.com/office/drawing/2014/main" id="{D038DBCB-0137-DBA1-CBB5-8E888C191700}"/>
              </a:ext>
            </a:extLst>
          </p:cNvPr>
          <p:cNvSpPr/>
          <p:nvPr/>
        </p:nvSpPr>
        <p:spPr>
          <a:xfrm>
            <a:off x="9460676" y="5161720"/>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18" name="Star: 5 Points 374">
            <a:extLst>
              <a:ext uri="{FF2B5EF4-FFF2-40B4-BE49-F238E27FC236}">
                <a16:creationId xmlns:a16="http://schemas.microsoft.com/office/drawing/2014/main" id="{9EF244D7-1EEE-94AF-76B7-156CE8A4544D}"/>
              </a:ext>
            </a:extLst>
          </p:cNvPr>
          <p:cNvSpPr/>
          <p:nvPr/>
        </p:nvSpPr>
        <p:spPr>
          <a:xfrm>
            <a:off x="9747551" y="5161720"/>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19" name="Star: 5 Points 375">
            <a:extLst>
              <a:ext uri="{FF2B5EF4-FFF2-40B4-BE49-F238E27FC236}">
                <a16:creationId xmlns:a16="http://schemas.microsoft.com/office/drawing/2014/main" id="{51F7D1AD-F848-8B49-ECBF-24DD177EC5E4}"/>
              </a:ext>
            </a:extLst>
          </p:cNvPr>
          <p:cNvSpPr/>
          <p:nvPr/>
        </p:nvSpPr>
        <p:spPr>
          <a:xfrm>
            <a:off x="10041629" y="5161720"/>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20" name="Star: 5 Points 376">
            <a:extLst>
              <a:ext uri="{FF2B5EF4-FFF2-40B4-BE49-F238E27FC236}">
                <a16:creationId xmlns:a16="http://schemas.microsoft.com/office/drawing/2014/main" id="{F8D83F9C-6F9D-85AB-45B6-6068A84E6306}"/>
              </a:ext>
            </a:extLst>
          </p:cNvPr>
          <p:cNvSpPr/>
          <p:nvPr/>
        </p:nvSpPr>
        <p:spPr>
          <a:xfrm>
            <a:off x="10321647" y="5161720"/>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21" name="Star: 5 Points 377">
            <a:extLst>
              <a:ext uri="{FF2B5EF4-FFF2-40B4-BE49-F238E27FC236}">
                <a16:creationId xmlns:a16="http://schemas.microsoft.com/office/drawing/2014/main" id="{622314FC-B2B1-9004-AFAB-6F3A28055553}"/>
              </a:ext>
            </a:extLst>
          </p:cNvPr>
          <p:cNvSpPr/>
          <p:nvPr/>
        </p:nvSpPr>
        <p:spPr>
          <a:xfrm>
            <a:off x="10602133" y="5161720"/>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22" name="Star: 5 Points 376">
            <a:extLst>
              <a:ext uri="{FF2B5EF4-FFF2-40B4-BE49-F238E27FC236}">
                <a16:creationId xmlns:a16="http://schemas.microsoft.com/office/drawing/2014/main" id="{7CE8E801-DFD7-007F-5ACD-AD61682518B2}"/>
              </a:ext>
            </a:extLst>
          </p:cNvPr>
          <p:cNvSpPr/>
          <p:nvPr/>
        </p:nvSpPr>
        <p:spPr>
          <a:xfrm>
            <a:off x="10892503" y="4434956"/>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23" name="Star: 5 Points 377">
            <a:extLst>
              <a:ext uri="{FF2B5EF4-FFF2-40B4-BE49-F238E27FC236}">
                <a16:creationId xmlns:a16="http://schemas.microsoft.com/office/drawing/2014/main" id="{799C99B5-17AE-3195-D170-FF9459C4F8CC}"/>
              </a:ext>
            </a:extLst>
          </p:cNvPr>
          <p:cNvSpPr/>
          <p:nvPr/>
        </p:nvSpPr>
        <p:spPr>
          <a:xfrm>
            <a:off x="11172989" y="4434956"/>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24" name="Star: 5 Points 376">
            <a:extLst>
              <a:ext uri="{FF2B5EF4-FFF2-40B4-BE49-F238E27FC236}">
                <a16:creationId xmlns:a16="http://schemas.microsoft.com/office/drawing/2014/main" id="{76B081AE-84AB-CB07-D872-3C793AA861F2}"/>
              </a:ext>
            </a:extLst>
          </p:cNvPr>
          <p:cNvSpPr/>
          <p:nvPr/>
        </p:nvSpPr>
        <p:spPr>
          <a:xfrm>
            <a:off x="10898530" y="4801473"/>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25" name="Star: 5 Points 377">
            <a:extLst>
              <a:ext uri="{FF2B5EF4-FFF2-40B4-BE49-F238E27FC236}">
                <a16:creationId xmlns:a16="http://schemas.microsoft.com/office/drawing/2014/main" id="{D793D207-9621-A956-0CC0-66069CDA1216}"/>
              </a:ext>
            </a:extLst>
          </p:cNvPr>
          <p:cNvSpPr/>
          <p:nvPr/>
        </p:nvSpPr>
        <p:spPr>
          <a:xfrm>
            <a:off x="11179016" y="4801473"/>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26" name="Star: 5 Points 376">
            <a:extLst>
              <a:ext uri="{FF2B5EF4-FFF2-40B4-BE49-F238E27FC236}">
                <a16:creationId xmlns:a16="http://schemas.microsoft.com/office/drawing/2014/main" id="{F3A8E1EF-7C64-0A30-49A4-F2BC7D900BA9}"/>
              </a:ext>
            </a:extLst>
          </p:cNvPr>
          <p:cNvSpPr/>
          <p:nvPr/>
        </p:nvSpPr>
        <p:spPr>
          <a:xfrm>
            <a:off x="10892503" y="5170045"/>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27" name="Star: 5 Points 377">
            <a:extLst>
              <a:ext uri="{FF2B5EF4-FFF2-40B4-BE49-F238E27FC236}">
                <a16:creationId xmlns:a16="http://schemas.microsoft.com/office/drawing/2014/main" id="{4A8D755A-E6D4-A27D-7C36-EAB4B14C6F2E}"/>
              </a:ext>
            </a:extLst>
          </p:cNvPr>
          <p:cNvSpPr/>
          <p:nvPr/>
        </p:nvSpPr>
        <p:spPr>
          <a:xfrm>
            <a:off x="11172989" y="5170045"/>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28" name="Star: 5 Points 373">
            <a:extLst>
              <a:ext uri="{FF2B5EF4-FFF2-40B4-BE49-F238E27FC236}">
                <a16:creationId xmlns:a16="http://schemas.microsoft.com/office/drawing/2014/main" id="{89F387FB-D8DD-9B52-2D4C-1E92CA1150B2}"/>
              </a:ext>
            </a:extLst>
          </p:cNvPr>
          <p:cNvSpPr/>
          <p:nvPr/>
        </p:nvSpPr>
        <p:spPr>
          <a:xfrm>
            <a:off x="3744374" y="4456652"/>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29" name="Star: 5 Points 374">
            <a:extLst>
              <a:ext uri="{FF2B5EF4-FFF2-40B4-BE49-F238E27FC236}">
                <a16:creationId xmlns:a16="http://schemas.microsoft.com/office/drawing/2014/main" id="{9B4C5A35-E001-AA37-24F0-903C6A854BEE}"/>
              </a:ext>
            </a:extLst>
          </p:cNvPr>
          <p:cNvSpPr/>
          <p:nvPr/>
        </p:nvSpPr>
        <p:spPr>
          <a:xfrm>
            <a:off x="4031249" y="4456652"/>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55" name="Star: 5 Points 373">
            <a:extLst>
              <a:ext uri="{FF2B5EF4-FFF2-40B4-BE49-F238E27FC236}">
                <a16:creationId xmlns:a16="http://schemas.microsoft.com/office/drawing/2014/main" id="{56502E06-DB12-C60D-A77A-A8D98B1FAFEC}"/>
              </a:ext>
            </a:extLst>
          </p:cNvPr>
          <p:cNvSpPr/>
          <p:nvPr/>
        </p:nvSpPr>
        <p:spPr>
          <a:xfrm>
            <a:off x="3750401" y="4823169"/>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56" name="Star: 5 Points 374">
            <a:extLst>
              <a:ext uri="{FF2B5EF4-FFF2-40B4-BE49-F238E27FC236}">
                <a16:creationId xmlns:a16="http://schemas.microsoft.com/office/drawing/2014/main" id="{0394D6F1-7F41-747C-D1EB-78B632B66DEA}"/>
              </a:ext>
            </a:extLst>
          </p:cNvPr>
          <p:cNvSpPr/>
          <p:nvPr/>
        </p:nvSpPr>
        <p:spPr>
          <a:xfrm>
            <a:off x="4037276" y="4823169"/>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57" name="Star: 5 Points 375">
            <a:extLst>
              <a:ext uri="{FF2B5EF4-FFF2-40B4-BE49-F238E27FC236}">
                <a16:creationId xmlns:a16="http://schemas.microsoft.com/office/drawing/2014/main" id="{BE69F487-CA2F-B829-6A2D-BCD63BAA082F}"/>
              </a:ext>
            </a:extLst>
          </p:cNvPr>
          <p:cNvSpPr/>
          <p:nvPr/>
        </p:nvSpPr>
        <p:spPr>
          <a:xfrm>
            <a:off x="4331354" y="4823169"/>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58" name="Star: 5 Points 376">
            <a:extLst>
              <a:ext uri="{FF2B5EF4-FFF2-40B4-BE49-F238E27FC236}">
                <a16:creationId xmlns:a16="http://schemas.microsoft.com/office/drawing/2014/main" id="{BE0535F0-3816-55F3-D133-BC5CBCE2B02F}"/>
              </a:ext>
            </a:extLst>
          </p:cNvPr>
          <p:cNvSpPr/>
          <p:nvPr/>
        </p:nvSpPr>
        <p:spPr>
          <a:xfrm>
            <a:off x="4611372" y="4823169"/>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59" name="Star: 5 Points 377">
            <a:extLst>
              <a:ext uri="{FF2B5EF4-FFF2-40B4-BE49-F238E27FC236}">
                <a16:creationId xmlns:a16="http://schemas.microsoft.com/office/drawing/2014/main" id="{6F1D33CA-027A-94D6-C041-AE25EADAC26D}"/>
              </a:ext>
            </a:extLst>
          </p:cNvPr>
          <p:cNvSpPr/>
          <p:nvPr/>
        </p:nvSpPr>
        <p:spPr>
          <a:xfrm>
            <a:off x="4891858" y="4823169"/>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60" name="Star: 5 Points 373">
            <a:extLst>
              <a:ext uri="{FF2B5EF4-FFF2-40B4-BE49-F238E27FC236}">
                <a16:creationId xmlns:a16="http://schemas.microsoft.com/office/drawing/2014/main" id="{87AF797E-C34D-F5D0-FBA2-2D3C8C3B688D}"/>
              </a:ext>
            </a:extLst>
          </p:cNvPr>
          <p:cNvSpPr/>
          <p:nvPr/>
        </p:nvSpPr>
        <p:spPr>
          <a:xfrm>
            <a:off x="3744374" y="5191741"/>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61" name="Star: 5 Points 374">
            <a:extLst>
              <a:ext uri="{FF2B5EF4-FFF2-40B4-BE49-F238E27FC236}">
                <a16:creationId xmlns:a16="http://schemas.microsoft.com/office/drawing/2014/main" id="{11DD6FA9-1416-F931-5AA8-DE4BCA8E3C4C}"/>
              </a:ext>
            </a:extLst>
          </p:cNvPr>
          <p:cNvSpPr/>
          <p:nvPr/>
        </p:nvSpPr>
        <p:spPr>
          <a:xfrm>
            <a:off x="4031249" y="5191741"/>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62" name="Star: 5 Points 375">
            <a:extLst>
              <a:ext uri="{FF2B5EF4-FFF2-40B4-BE49-F238E27FC236}">
                <a16:creationId xmlns:a16="http://schemas.microsoft.com/office/drawing/2014/main" id="{5844F54E-60AD-7AD2-74AF-9330F8D27586}"/>
              </a:ext>
            </a:extLst>
          </p:cNvPr>
          <p:cNvSpPr/>
          <p:nvPr/>
        </p:nvSpPr>
        <p:spPr>
          <a:xfrm>
            <a:off x="4325327" y="5191741"/>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63" name="Star: 5 Points 376">
            <a:extLst>
              <a:ext uri="{FF2B5EF4-FFF2-40B4-BE49-F238E27FC236}">
                <a16:creationId xmlns:a16="http://schemas.microsoft.com/office/drawing/2014/main" id="{C6F7346C-33ED-B5B2-394D-F2BD7B65DD3A}"/>
              </a:ext>
            </a:extLst>
          </p:cNvPr>
          <p:cNvSpPr/>
          <p:nvPr/>
        </p:nvSpPr>
        <p:spPr>
          <a:xfrm>
            <a:off x="4605345" y="5191741"/>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64" name="Star: 5 Points 377">
            <a:extLst>
              <a:ext uri="{FF2B5EF4-FFF2-40B4-BE49-F238E27FC236}">
                <a16:creationId xmlns:a16="http://schemas.microsoft.com/office/drawing/2014/main" id="{6B1A05E5-4662-2678-1B28-B1ABFDA5387F}"/>
              </a:ext>
            </a:extLst>
          </p:cNvPr>
          <p:cNvSpPr/>
          <p:nvPr/>
        </p:nvSpPr>
        <p:spPr>
          <a:xfrm>
            <a:off x="4885831" y="5191741"/>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66" name="Star: 5 Points 377">
            <a:extLst>
              <a:ext uri="{FF2B5EF4-FFF2-40B4-BE49-F238E27FC236}">
                <a16:creationId xmlns:a16="http://schemas.microsoft.com/office/drawing/2014/main" id="{CA59D9FF-18EF-5B96-9C72-973564B960C3}"/>
              </a:ext>
            </a:extLst>
          </p:cNvPr>
          <p:cNvSpPr/>
          <p:nvPr/>
        </p:nvSpPr>
        <p:spPr>
          <a:xfrm>
            <a:off x="5456687" y="4464977"/>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71" name="Star: 5 Points 376">
            <a:extLst>
              <a:ext uri="{FF2B5EF4-FFF2-40B4-BE49-F238E27FC236}">
                <a16:creationId xmlns:a16="http://schemas.microsoft.com/office/drawing/2014/main" id="{17DED1C2-137E-BF5E-C7C3-0503ACF8C71E}"/>
              </a:ext>
            </a:extLst>
          </p:cNvPr>
          <p:cNvSpPr/>
          <p:nvPr/>
        </p:nvSpPr>
        <p:spPr>
          <a:xfrm>
            <a:off x="5182228" y="4831494"/>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74" name="Star: 5 Points 377">
            <a:extLst>
              <a:ext uri="{FF2B5EF4-FFF2-40B4-BE49-F238E27FC236}">
                <a16:creationId xmlns:a16="http://schemas.microsoft.com/office/drawing/2014/main" id="{60EC913A-FF34-234C-E1C2-9D2CCE4F0330}"/>
              </a:ext>
            </a:extLst>
          </p:cNvPr>
          <p:cNvSpPr/>
          <p:nvPr/>
        </p:nvSpPr>
        <p:spPr>
          <a:xfrm>
            <a:off x="5462714" y="4831494"/>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75" name="Star: 5 Points 376">
            <a:extLst>
              <a:ext uri="{FF2B5EF4-FFF2-40B4-BE49-F238E27FC236}">
                <a16:creationId xmlns:a16="http://schemas.microsoft.com/office/drawing/2014/main" id="{99548410-167F-7BEF-4F45-1D6A6B56302C}"/>
              </a:ext>
            </a:extLst>
          </p:cNvPr>
          <p:cNvSpPr/>
          <p:nvPr/>
        </p:nvSpPr>
        <p:spPr>
          <a:xfrm>
            <a:off x="5176201" y="5200066"/>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76" name="Star: 5 Points 377">
            <a:extLst>
              <a:ext uri="{FF2B5EF4-FFF2-40B4-BE49-F238E27FC236}">
                <a16:creationId xmlns:a16="http://schemas.microsoft.com/office/drawing/2014/main" id="{94F29685-64C6-14EB-A9A0-7F3C35F20897}"/>
              </a:ext>
            </a:extLst>
          </p:cNvPr>
          <p:cNvSpPr/>
          <p:nvPr/>
        </p:nvSpPr>
        <p:spPr>
          <a:xfrm>
            <a:off x="5456687" y="5200066"/>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77" name="Star: 5 Points 373">
            <a:extLst>
              <a:ext uri="{FF2B5EF4-FFF2-40B4-BE49-F238E27FC236}">
                <a16:creationId xmlns:a16="http://schemas.microsoft.com/office/drawing/2014/main" id="{757AAE4D-4C63-F2BF-F947-390F4EE9DC60}"/>
              </a:ext>
            </a:extLst>
          </p:cNvPr>
          <p:cNvSpPr/>
          <p:nvPr/>
        </p:nvSpPr>
        <p:spPr>
          <a:xfrm>
            <a:off x="6689305" y="4456652"/>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78" name="Star: 5 Points 374">
            <a:extLst>
              <a:ext uri="{FF2B5EF4-FFF2-40B4-BE49-F238E27FC236}">
                <a16:creationId xmlns:a16="http://schemas.microsoft.com/office/drawing/2014/main" id="{7BADB903-BEE1-8BBE-C129-2A217D859A37}"/>
              </a:ext>
            </a:extLst>
          </p:cNvPr>
          <p:cNvSpPr/>
          <p:nvPr/>
        </p:nvSpPr>
        <p:spPr>
          <a:xfrm>
            <a:off x="6976180" y="4456652"/>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84" name="Star: 5 Points 376">
            <a:extLst>
              <a:ext uri="{FF2B5EF4-FFF2-40B4-BE49-F238E27FC236}">
                <a16:creationId xmlns:a16="http://schemas.microsoft.com/office/drawing/2014/main" id="{5545D712-A3CF-C6B3-D9FA-22A89241E2B3}"/>
              </a:ext>
            </a:extLst>
          </p:cNvPr>
          <p:cNvSpPr/>
          <p:nvPr/>
        </p:nvSpPr>
        <p:spPr>
          <a:xfrm>
            <a:off x="7550276" y="4456652"/>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87" name="Star: 5 Points 377">
            <a:extLst>
              <a:ext uri="{FF2B5EF4-FFF2-40B4-BE49-F238E27FC236}">
                <a16:creationId xmlns:a16="http://schemas.microsoft.com/office/drawing/2014/main" id="{EFFE410A-DAD7-2EC4-BC8F-8FE659FDAA8A}"/>
              </a:ext>
            </a:extLst>
          </p:cNvPr>
          <p:cNvSpPr/>
          <p:nvPr/>
        </p:nvSpPr>
        <p:spPr>
          <a:xfrm>
            <a:off x="7830762" y="4456652"/>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88" name="Star: 5 Points 373">
            <a:extLst>
              <a:ext uri="{FF2B5EF4-FFF2-40B4-BE49-F238E27FC236}">
                <a16:creationId xmlns:a16="http://schemas.microsoft.com/office/drawing/2014/main" id="{3997B731-D297-0617-3071-486BC9B25C0C}"/>
              </a:ext>
            </a:extLst>
          </p:cNvPr>
          <p:cNvSpPr/>
          <p:nvPr/>
        </p:nvSpPr>
        <p:spPr>
          <a:xfrm>
            <a:off x="6695332" y="4823169"/>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89" name="Star: 5 Points 374">
            <a:extLst>
              <a:ext uri="{FF2B5EF4-FFF2-40B4-BE49-F238E27FC236}">
                <a16:creationId xmlns:a16="http://schemas.microsoft.com/office/drawing/2014/main" id="{EA94AB9B-2C96-AAC9-42FD-653A949E12BD}"/>
              </a:ext>
            </a:extLst>
          </p:cNvPr>
          <p:cNvSpPr/>
          <p:nvPr/>
        </p:nvSpPr>
        <p:spPr>
          <a:xfrm>
            <a:off x="6982207" y="4823169"/>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90" name="Star: 5 Points 375">
            <a:extLst>
              <a:ext uri="{FF2B5EF4-FFF2-40B4-BE49-F238E27FC236}">
                <a16:creationId xmlns:a16="http://schemas.microsoft.com/office/drawing/2014/main" id="{EF496869-6EC9-6BE6-1810-7D95D90499C8}"/>
              </a:ext>
            </a:extLst>
          </p:cNvPr>
          <p:cNvSpPr/>
          <p:nvPr/>
        </p:nvSpPr>
        <p:spPr>
          <a:xfrm>
            <a:off x="7276285" y="4823169"/>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91" name="Star: 5 Points 376">
            <a:extLst>
              <a:ext uri="{FF2B5EF4-FFF2-40B4-BE49-F238E27FC236}">
                <a16:creationId xmlns:a16="http://schemas.microsoft.com/office/drawing/2014/main" id="{F65A45A0-F7BD-6E12-44B4-63019C84B0CA}"/>
              </a:ext>
            </a:extLst>
          </p:cNvPr>
          <p:cNvSpPr/>
          <p:nvPr/>
        </p:nvSpPr>
        <p:spPr>
          <a:xfrm>
            <a:off x="7556303" y="4823169"/>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92" name="Star: 5 Points 377">
            <a:extLst>
              <a:ext uri="{FF2B5EF4-FFF2-40B4-BE49-F238E27FC236}">
                <a16:creationId xmlns:a16="http://schemas.microsoft.com/office/drawing/2014/main" id="{41EE60ED-F851-41F2-FDC1-5245A9C818C4}"/>
              </a:ext>
            </a:extLst>
          </p:cNvPr>
          <p:cNvSpPr/>
          <p:nvPr/>
        </p:nvSpPr>
        <p:spPr>
          <a:xfrm>
            <a:off x="7836789" y="4823169"/>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93" name="Star: 5 Points 373">
            <a:extLst>
              <a:ext uri="{FF2B5EF4-FFF2-40B4-BE49-F238E27FC236}">
                <a16:creationId xmlns:a16="http://schemas.microsoft.com/office/drawing/2014/main" id="{8F5299D9-E1DB-63BC-6989-E9D2D4701D11}"/>
              </a:ext>
            </a:extLst>
          </p:cNvPr>
          <p:cNvSpPr/>
          <p:nvPr/>
        </p:nvSpPr>
        <p:spPr>
          <a:xfrm>
            <a:off x="6689305" y="5191741"/>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94" name="Star: 5 Points 374">
            <a:extLst>
              <a:ext uri="{FF2B5EF4-FFF2-40B4-BE49-F238E27FC236}">
                <a16:creationId xmlns:a16="http://schemas.microsoft.com/office/drawing/2014/main" id="{D9E1886A-3E97-C122-23DA-5A42992E17CD}"/>
              </a:ext>
            </a:extLst>
          </p:cNvPr>
          <p:cNvSpPr/>
          <p:nvPr/>
        </p:nvSpPr>
        <p:spPr>
          <a:xfrm>
            <a:off x="6976180" y="5191741"/>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95" name="Star: 5 Points 375">
            <a:extLst>
              <a:ext uri="{FF2B5EF4-FFF2-40B4-BE49-F238E27FC236}">
                <a16:creationId xmlns:a16="http://schemas.microsoft.com/office/drawing/2014/main" id="{AA691EC1-2E29-221F-033D-FE224B5BB3B5}"/>
              </a:ext>
            </a:extLst>
          </p:cNvPr>
          <p:cNvSpPr/>
          <p:nvPr/>
        </p:nvSpPr>
        <p:spPr>
          <a:xfrm>
            <a:off x="7270258" y="5191741"/>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96" name="Star: 5 Points 376">
            <a:extLst>
              <a:ext uri="{FF2B5EF4-FFF2-40B4-BE49-F238E27FC236}">
                <a16:creationId xmlns:a16="http://schemas.microsoft.com/office/drawing/2014/main" id="{A23E30DF-682F-13BA-F74E-1377E1C00DBE}"/>
              </a:ext>
            </a:extLst>
          </p:cNvPr>
          <p:cNvSpPr/>
          <p:nvPr/>
        </p:nvSpPr>
        <p:spPr>
          <a:xfrm>
            <a:off x="7550276" y="5191741"/>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97" name="Star: 5 Points 377">
            <a:extLst>
              <a:ext uri="{FF2B5EF4-FFF2-40B4-BE49-F238E27FC236}">
                <a16:creationId xmlns:a16="http://schemas.microsoft.com/office/drawing/2014/main" id="{C4F9C8A5-9608-16A0-FDB1-F8C888878769}"/>
              </a:ext>
            </a:extLst>
          </p:cNvPr>
          <p:cNvSpPr/>
          <p:nvPr/>
        </p:nvSpPr>
        <p:spPr>
          <a:xfrm>
            <a:off x="7830762" y="5191741"/>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98" name="Star: 5 Points 376">
            <a:extLst>
              <a:ext uri="{FF2B5EF4-FFF2-40B4-BE49-F238E27FC236}">
                <a16:creationId xmlns:a16="http://schemas.microsoft.com/office/drawing/2014/main" id="{C4DE6D54-57A9-22AF-9F95-0EE5F501C90E}"/>
              </a:ext>
            </a:extLst>
          </p:cNvPr>
          <p:cNvSpPr/>
          <p:nvPr/>
        </p:nvSpPr>
        <p:spPr>
          <a:xfrm>
            <a:off x="8121132" y="4464977"/>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99" name="Star: 5 Points 377">
            <a:extLst>
              <a:ext uri="{FF2B5EF4-FFF2-40B4-BE49-F238E27FC236}">
                <a16:creationId xmlns:a16="http://schemas.microsoft.com/office/drawing/2014/main" id="{CE44185F-C69D-8E84-9409-BA0E7811BF6B}"/>
              </a:ext>
            </a:extLst>
          </p:cNvPr>
          <p:cNvSpPr/>
          <p:nvPr/>
        </p:nvSpPr>
        <p:spPr>
          <a:xfrm>
            <a:off x="8401618" y="4464977"/>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00" name="Star: 5 Points 376">
            <a:extLst>
              <a:ext uri="{FF2B5EF4-FFF2-40B4-BE49-F238E27FC236}">
                <a16:creationId xmlns:a16="http://schemas.microsoft.com/office/drawing/2014/main" id="{E1E62548-24CC-3298-73B5-4B94195869E1}"/>
              </a:ext>
            </a:extLst>
          </p:cNvPr>
          <p:cNvSpPr/>
          <p:nvPr/>
        </p:nvSpPr>
        <p:spPr>
          <a:xfrm>
            <a:off x="8127159" y="4831494"/>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01" name="Star: 5 Points 377">
            <a:extLst>
              <a:ext uri="{FF2B5EF4-FFF2-40B4-BE49-F238E27FC236}">
                <a16:creationId xmlns:a16="http://schemas.microsoft.com/office/drawing/2014/main" id="{F7119D5F-B66A-39EB-B622-05E36F1CEF05}"/>
              </a:ext>
            </a:extLst>
          </p:cNvPr>
          <p:cNvSpPr/>
          <p:nvPr/>
        </p:nvSpPr>
        <p:spPr>
          <a:xfrm>
            <a:off x="8407645" y="4831494"/>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02" name="Star: 5 Points 376">
            <a:extLst>
              <a:ext uri="{FF2B5EF4-FFF2-40B4-BE49-F238E27FC236}">
                <a16:creationId xmlns:a16="http://schemas.microsoft.com/office/drawing/2014/main" id="{4DA41391-15FE-EF77-B3D3-04DF1B191512}"/>
              </a:ext>
            </a:extLst>
          </p:cNvPr>
          <p:cNvSpPr/>
          <p:nvPr/>
        </p:nvSpPr>
        <p:spPr>
          <a:xfrm>
            <a:off x="8121132" y="5200066"/>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03" name="Star: 5 Points 377">
            <a:extLst>
              <a:ext uri="{FF2B5EF4-FFF2-40B4-BE49-F238E27FC236}">
                <a16:creationId xmlns:a16="http://schemas.microsoft.com/office/drawing/2014/main" id="{8721FF8A-AE86-886F-29C1-625DB23E8D9E}"/>
              </a:ext>
            </a:extLst>
          </p:cNvPr>
          <p:cNvSpPr/>
          <p:nvPr/>
        </p:nvSpPr>
        <p:spPr>
          <a:xfrm>
            <a:off x="8401618" y="5200066"/>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pic>
        <p:nvPicPr>
          <p:cNvPr id="8405" name="Picture 8404">
            <a:extLst>
              <a:ext uri="{FF2B5EF4-FFF2-40B4-BE49-F238E27FC236}">
                <a16:creationId xmlns:a16="http://schemas.microsoft.com/office/drawing/2014/main" id="{62F5F79D-5E7B-E55A-3713-858500E69C9A}"/>
              </a:ext>
            </a:extLst>
          </p:cNvPr>
          <p:cNvPicPr>
            <a:picLocks noChangeAspect="1"/>
          </p:cNvPicPr>
          <p:nvPr/>
        </p:nvPicPr>
        <p:blipFill>
          <a:blip r:embed="rId12"/>
          <a:stretch>
            <a:fillRect/>
          </a:stretch>
        </p:blipFill>
        <p:spPr>
          <a:xfrm>
            <a:off x="69179" y="1883019"/>
            <a:ext cx="1192553" cy="380000"/>
          </a:xfrm>
          <a:prstGeom prst="rect">
            <a:avLst/>
          </a:prstGeom>
        </p:spPr>
      </p:pic>
      <p:pic>
        <p:nvPicPr>
          <p:cNvPr id="8449" name="Picture 8448">
            <a:extLst>
              <a:ext uri="{FF2B5EF4-FFF2-40B4-BE49-F238E27FC236}">
                <a16:creationId xmlns:a16="http://schemas.microsoft.com/office/drawing/2014/main" id="{C37B1D8B-1D01-B709-D23E-5C5F1F8E7B04}"/>
              </a:ext>
            </a:extLst>
          </p:cNvPr>
          <p:cNvPicPr>
            <a:picLocks noChangeAspect="1"/>
          </p:cNvPicPr>
          <p:nvPr/>
        </p:nvPicPr>
        <p:blipFill>
          <a:blip r:embed="rId13"/>
          <a:stretch>
            <a:fillRect/>
          </a:stretch>
        </p:blipFill>
        <p:spPr>
          <a:xfrm>
            <a:off x="3523904" y="5917381"/>
            <a:ext cx="240903" cy="229897"/>
          </a:xfrm>
          <a:prstGeom prst="rect">
            <a:avLst/>
          </a:prstGeom>
        </p:spPr>
      </p:pic>
      <p:pic>
        <p:nvPicPr>
          <p:cNvPr id="8509" name="Picture 8508">
            <a:extLst>
              <a:ext uri="{FF2B5EF4-FFF2-40B4-BE49-F238E27FC236}">
                <a16:creationId xmlns:a16="http://schemas.microsoft.com/office/drawing/2014/main" id="{40326E25-DF79-025C-76BB-69275C578D31}"/>
              </a:ext>
            </a:extLst>
          </p:cNvPr>
          <p:cNvPicPr>
            <a:picLocks noChangeAspect="1"/>
          </p:cNvPicPr>
          <p:nvPr/>
        </p:nvPicPr>
        <p:blipFill>
          <a:blip r:embed="rId14"/>
          <a:stretch>
            <a:fillRect/>
          </a:stretch>
        </p:blipFill>
        <p:spPr>
          <a:xfrm>
            <a:off x="3858088" y="5922134"/>
            <a:ext cx="1921092" cy="215853"/>
          </a:xfrm>
          <a:prstGeom prst="rect">
            <a:avLst/>
          </a:prstGeom>
        </p:spPr>
      </p:pic>
      <p:pic>
        <p:nvPicPr>
          <p:cNvPr id="8511" name="Picture 8510">
            <a:extLst>
              <a:ext uri="{FF2B5EF4-FFF2-40B4-BE49-F238E27FC236}">
                <a16:creationId xmlns:a16="http://schemas.microsoft.com/office/drawing/2014/main" id="{89A29D32-9789-73F8-8BF4-8B4588755757}"/>
              </a:ext>
            </a:extLst>
          </p:cNvPr>
          <p:cNvPicPr>
            <a:picLocks noChangeAspect="1"/>
          </p:cNvPicPr>
          <p:nvPr/>
        </p:nvPicPr>
        <p:blipFill>
          <a:blip r:embed="rId14"/>
          <a:stretch>
            <a:fillRect/>
          </a:stretch>
        </p:blipFill>
        <p:spPr>
          <a:xfrm>
            <a:off x="6885753" y="5911878"/>
            <a:ext cx="1921092" cy="215853"/>
          </a:xfrm>
          <a:prstGeom prst="rect">
            <a:avLst/>
          </a:prstGeom>
        </p:spPr>
      </p:pic>
      <p:pic>
        <p:nvPicPr>
          <p:cNvPr id="8512" name="Picture 8511">
            <a:extLst>
              <a:ext uri="{FF2B5EF4-FFF2-40B4-BE49-F238E27FC236}">
                <a16:creationId xmlns:a16="http://schemas.microsoft.com/office/drawing/2014/main" id="{128CDE4E-4BC3-8792-1F44-5EC3023D9D3B}"/>
              </a:ext>
            </a:extLst>
          </p:cNvPr>
          <p:cNvPicPr>
            <a:picLocks noChangeAspect="1"/>
          </p:cNvPicPr>
          <p:nvPr/>
        </p:nvPicPr>
        <p:blipFill>
          <a:blip r:embed="rId14"/>
          <a:stretch>
            <a:fillRect/>
          </a:stretch>
        </p:blipFill>
        <p:spPr>
          <a:xfrm>
            <a:off x="9754954" y="5924578"/>
            <a:ext cx="1921092" cy="215853"/>
          </a:xfrm>
          <a:prstGeom prst="rect">
            <a:avLst/>
          </a:prstGeom>
        </p:spPr>
      </p:pic>
      <p:pic>
        <p:nvPicPr>
          <p:cNvPr id="8533" name="Picture 8532">
            <a:extLst>
              <a:ext uri="{FF2B5EF4-FFF2-40B4-BE49-F238E27FC236}">
                <a16:creationId xmlns:a16="http://schemas.microsoft.com/office/drawing/2014/main" id="{87B2E18D-C284-F973-0E40-F16BFC318532}"/>
              </a:ext>
            </a:extLst>
          </p:cNvPr>
          <p:cNvPicPr>
            <a:picLocks noChangeAspect="1"/>
          </p:cNvPicPr>
          <p:nvPr/>
        </p:nvPicPr>
        <p:blipFill>
          <a:blip r:embed="rId15"/>
          <a:stretch>
            <a:fillRect/>
          </a:stretch>
        </p:blipFill>
        <p:spPr>
          <a:xfrm>
            <a:off x="3906791" y="4002697"/>
            <a:ext cx="2026430" cy="211563"/>
          </a:xfrm>
          <a:prstGeom prst="rect">
            <a:avLst/>
          </a:prstGeom>
        </p:spPr>
      </p:pic>
      <p:pic>
        <p:nvPicPr>
          <p:cNvPr id="8535" name="Picture 8534">
            <a:extLst>
              <a:ext uri="{FF2B5EF4-FFF2-40B4-BE49-F238E27FC236}">
                <a16:creationId xmlns:a16="http://schemas.microsoft.com/office/drawing/2014/main" id="{7893F1F0-BA2A-F674-556D-93F467E253E3}"/>
              </a:ext>
            </a:extLst>
          </p:cNvPr>
          <p:cNvPicPr>
            <a:picLocks noChangeAspect="1"/>
          </p:cNvPicPr>
          <p:nvPr/>
        </p:nvPicPr>
        <p:blipFill>
          <a:blip r:embed="rId13"/>
          <a:stretch>
            <a:fillRect/>
          </a:stretch>
        </p:blipFill>
        <p:spPr>
          <a:xfrm>
            <a:off x="6607967" y="5902889"/>
            <a:ext cx="240903" cy="229897"/>
          </a:xfrm>
          <a:prstGeom prst="rect">
            <a:avLst/>
          </a:prstGeom>
        </p:spPr>
      </p:pic>
      <p:pic>
        <p:nvPicPr>
          <p:cNvPr id="8536" name="Picture 8535">
            <a:extLst>
              <a:ext uri="{FF2B5EF4-FFF2-40B4-BE49-F238E27FC236}">
                <a16:creationId xmlns:a16="http://schemas.microsoft.com/office/drawing/2014/main" id="{9B78E9C1-9AEB-911F-F2B8-A7E764436F57}"/>
              </a:ext>
            </a:extLst>
          </p:cNvPr>
          <p:cNvPicPr>
            <a:picLocks noChangeAspect="1"/>
          </p:cNvPicPr>
          <p:nvPr/>
        </p:nvPicPr>
        <p:blipFill>
          <a:blip r:embed="rId13"/>
          <a:stretch>
            <a:fillRect/>
          </a:stretch>
        </p:blipFill>
        <p:spPr>
          <a:xfrm>
            <a:off x="9478159" y="5915905"/>
            <a:ext cx="240903" cy="229897"/>
          </a:xfrm>
          <a:prstGeom prst="rect">
            <a:avLst/>
          </a:prstGeom>
        </p:spPr>
      </p:pic>
      <p:pic>
        <p:nvPicPr>
          <p:cNvPr id="8537" name="Picture 8536">
            <a:extLst>
              <a:ext uri="{FF2B5EF4-FFF2-40B4-BE49-F238E27FC236}">
                <a16:creationId xmlns:a16="http://schemas.microsoft.com/office/drawing/2014/main" id="{3F4E5494-A7C9-997F-2212-25A4F9EDE5B5}"/>
              </a:ext>
            </a:extLst>
          </p:cNvPr>
          <p:cNvPicPr>
            <a:picLocks noChangeAspect="1"/>
          </p:cNvPicPr>
          <p:nvPr/>
        </p:nvPicPr>
        <p:blipFill>
          <a:blip r:embed="rId13"/>
          <a:stretch>
            <a:fillRect/>
          </a:stretch>
        </p:blipFill>
        <p:spPr>
          <a:xfrm>
            <a:off x="3641441" y="4025214"/>
            <a:ext cx="240903" cy="229897"/>
          </a:xfrm>
          <a:prstGeom prst="rect">
            <a:avLst/>
          </a:prstGeom>
        </p:spPr>
      </p:pic>
      <p:pic>
        <p:nvPicPr>
          <p:cNvPr id="8538" name="Picture 8537">
            <a:extLst>
              <a:ext uri="{FF2B5EF4-FFF2-40B4-BE49-F238E27FC236}">
                <a16:creationId xmlns:a16="http://schemas.microsoft.com/office/drawing/2014/main" id="{C8A26683-3FB7-D6C9-9AF5-357DEFD15AAF}"/>
              </a:ext>
            </a:extLst>
          </p:cNvPr>
          <p:cNvPicPr>
            <a:picLocks noChangeAspect="1"/>
          </p:cNvPicPr>
          <p:nvPr/>
        </p:nvPicPr>
        <p:blipFill>
          <a:blip r:embed="rId13"/>
          <a:stretch>
            <a:fillRect/>
          </a:stretch>
        </p:blipFill>
        <p:spPr>
          <a:xfrm>
            <a:off x="9559540" y="4035559"/>
            <a:ext cx="240903" cy="229897"/>
          </a:xfrm>
          <a:prstGeom prst="rect">
            <a:avLst/>
          </a:prstGeom>
        </p:spPr>
      </p:pic>
      <p:pic>
        <p:nvPicPr>
          <p:cNvPr id="8539" name="Picture 8538">
            <a:extLst>
              <a:ext uri="{FF2B5EF4-FFF2-40B4-BE49-F238E27FC236}">
                <a16:creationId xmlns:a16="http://schemas.microsoft.com/office/drawing/2014/main" id="{8EC0DE97-AB02-1F39-A580-D64F4B9860A3}"/>
              </a:ext>
            </a:extLst>
          </p:cNvPr>
          <p:cNvPicPr>
            <a:picLocks noChangeAspect="1"/>
          </p:cNvPicPr>
          <p:nvPr/>
        </p:nvPicPr>
        <p:blipFill>
          <a:blip r:embed="rId15"/>
          <a:stretch>
            <a:fillRect/>
          </a:stretch>
        </p:blipFill>
        <p:spPr>
          <a:xfrm>
            <a:off x="9849337" y="4021235"/>
            <a:ext cx="2026430" cy="211563"/>
          </a:xfrm>
          <a:prstGeom prst="rect">
            <a:avLst/>
          </a:prstGeom>
        </p:spPr>
      </p:pic>
      <p:sp>
        <p:nvSpPr>
          <p:cNvPr id="8540" name="Star: 5 Points 376">
            <a:extLst>
              <a:ext uri="{FF2B5EF4-FFF2-40B4-BE49-F238E27FC236}">
                <a16:creationId xmlns:a16="http://schemas.microsoft.com/office/drawing/2014/main" id="{F9BFAB01-F7DF-19BC-D41C-79552CDF69E7}"/>
              </a:ext>
            </a:extLst>
          </p:cNvPr>
          <p:cNvSpPr/>
          <p:nvPr/>
        </p:nvSpPr>
        <p:spPr>
          <a:xfrm>
            <a:off x="7248377" y="4456652"/>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541" name="Star: 5 Points 376">
            <a:extLst>
              <a:ext uri="{FF2B5EF4-FFF2-40B4-BE49-F238E27FC236}">
                <a16:creationId xmlns:a16="http://schemas.microsoft.com/office/drawing/2014/main" id="{CA30FDFF-A239-4EB1-C39A-9246F4A5BB4B}"/>
              </a:ext>
            </a:extLst>
          </p:cNvPr>
          <p:cNvSpPr/>
          <p:nvPr/>
        </p:nvSpPr>
        <p:spPr>
          <a:xfrm>
            <a:off x="4326713" y="4452379"/>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542" name="Star: 5 Points 377">
            <a:extLst>
              <a:ext uri="{FF2B5EF4-FFF2-40B4-BE49-F238E27FC236}">
                <a16:creationId xmlns:a16="http://schemas.microsoft.com/office/drawing/2014/main" id="{38CAEFEC-E581-B993-45CA-AED399B75AE1}"/>
              </a:ext>
            </a:extLst>
          </p:cNvPr>
          <p:cNvSpPr/>
          <p:nvPr/>
        </p:nvSpPr>
        <p:spPr>
          <a:xfrm>
            <a:off x="4607199" y="4452379"/>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543" name="Star: 5 Points 376">
            <a:extLst>
              <a:ext uri="{FF2B5EF4-FFF2-40B4-BE49-F238E27FC236}">
                <a16:creationId xmlns:a16="http://schemas.microsoft.com/office/drawing/2014/main" id="{D9B38E84-9533-3849-7082-DD4D59650F81}"/>
              </a:ext>
            </a:extLst>
          </p:cNvPr>
          <p:cNvSpPr/>
          <p:nvPr/>
        </p:nvSpPr>
        <p:spPr>
          <a:xfrm>
            <a:off x="4897569" y="4460704"/>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121" name="Star: 5 Points 377">
            <a:extLst>
              <a:ext uri="{FF2B5EF4-FFF2-40B4-BE49-F238E27FC236}">
                <a16:creationId xmlns:a16="http://schemas.microsoft.com/office/drawing/2014/main" id="{861008D6-C778-BCF0-1845-492D0F426B57}"/>
              </a:ext>
            </a:extLst>
          </p:cNvPr>
          <p:cNvSpPr/>
          <p:nvPr/>
        </p:nvSpPr>
        <p:spPr>
          <a:xfrm>
            <a:off x="5178055" y="4460704"/>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123" name="Star: 5 Points 376">
            <a:extLst>
              <a:ext uri="{FF2B5EF4-FFF2-40B4-BE49-F238E27FC236}">
                <a16:creationId xmlns:a16="http://schemas.microsoft.com/office/drawing/2014/main" id="{9C25356A-425D-EBA1-B335-33256AC88E77}"/>
              </a:ext>
            </a:extLst>
          </p:cNvPr>
          <p:cNvSpPr/>
          <p:nvPr/>
        </p:nvSpPr>
        <p:spPr>
          <a:xfrm>
            <a:off x="10028926" y="4426631"/>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7" name="Star: 5 Points 373">
            <a:extLst>
              <a:ext uri="{FF2B5EF4-FFF2-40B4-BE49-F238E27FC236}">
                <a16:creationId xmlns:a16="http://schemas.microsoft.com/office/drawing/2014/main" id="{E388437D-12B2-7F06-0E0C-34324692864F}"/>
              </a:ext>
            </a:extLst>
          </p:cNvPr>
          <p:cNvSpPr/>
          <p:nvPr/>
        </p:nvSpPr>
        <p:spPr>
          <a:xfrm>
            <a:off x="3750401" y="1716897"/>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30" name="Star: 5 Points 374">
            <a:extLst>
              <a:ext uri="{FF2B5EF4-FFF2-40B4-BE49-F238E27FC236}">
                <a16:creationId xmlns:a16="http://schemas.microsoft.com/office/drawing/2014/main" id="{F301025C-86A7-5426-8B97-C808FE91F656}"/>
              </a:ext>
            </a:extLst>
          </p:cNvPr>
          <p:cNvSpPr/>
          <p:nvPr/>
        </p:nvSpPr>
        <p:spPr>
          <a:xfrm>
            <a:off x="4037276" y="1716897"/>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31" name="Star: 5 Points 375">
            <a:extLst>
              <a:ext uri="{FF2B5EF4-FFF2-40B4-BE49-F238E27FC236}">
                <a16:creationId xmlns:a16="http://schemas.microsoft.com/office/drawing/2014/main" id="{6F6D518A-5CDD-355D-BC9F-9BF0DD7081B9}"/>
              </a:ext>
            </a:extLst>
          </p:cNvPr>
          <p:cNvSpPr/>
          <p:nvPr/>
        </p:nvSpPr>
        <p:spPr>
          <a:xfrm>
            <a:off x="4331354" y="1716897"/>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54" name="Star: 5 Points 373">
            <a:extLst>
              <a:ext uri="{FF2B5EF4-FFF2-40B4-BE49-F238E27FC236}">
                <a16:creationId xmlns:a16="http://schemas.microsoft.com/office/drawing/2014/main" id="{F6D90804-A798-A8B3-CC77-981ADF26E702}"/>
              </a:ext>
            </a:extLst>
          </p:cNvPr>
          <p:cNvSpPr/>
          <p:nvPr/>
        </p:nvSpPr>
        <p:spPr>
          <a:xfrm>
            <a:off x="3756428" y="2083414"/>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65" name="Star: 5 Points 374">
            <a:extLst>
              <a:ext uri="{FF2B5EF4-FFF2-40B4-BE49-F238E27FC236}">
                <a16:creationId xmlns:a16="http://schemas.microsoft.com/office/drawing/2014/main" id="{2164860B-7E26-F47F-066C-A190A22BE7E3}"/>
              </a:ext>
            </a:extLst>
          </p:cNvPr>
          <p:cNvSpPr/>
          <p:nvPr/>
        </p:nvSpPr>
        <p:spPr>
          <a:xfrm>
            <a:off x="4043303" y="2083414"/>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81" name="Star: 5 Points 375">
            <a:extLst>
              <a:ext uri="{FF2B5EF4-FFF2-40B4-BE49-F238E27FC236}">
                <a16:creationId xmlns:a16="http://schemas.microsoft.com/office/drawing/2014/main" id="{963C8CA1-1739-1ED7-BCE4-4CE4326D7D83}"/>
              </a:ext>
            </a:extLst>
          </p:cNvPr>
          <p:cNvSpPr/>
          <p:nvPr/>
        </p:nvSpPr>
        <p:spPr>
          <a:xfrm>
            <a:off x="4337381" y="2083414"/>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85" name="Star: 5 Points 373">
            <a:extLst>
              <a:ext uri="{FF2B5EF4-FFF2-40B4-BE49-F238E27FC236}">
                <a16:creationId xmlns:a16="http://schemas.microsoft.com/office/drawing/2014/main" id="{B4AF28FC-A8DD-5454-9DFD-ED214A772955}"/>
              </a:ext>
            </a:extLst>
          </p:cNvPr>
          <p:cNvSpPr/>
          <p:nvPr/>
        </p:nvSpPr>
        <p:spPr>
          <a:xfrm>
            <a:off x="3750401" y="2451986"/>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04" name="Star: 5 Points 374">
            <a:extLst>
              <a:ext uri="{FF2B5EF4-FFF2-40B4-BE49-F238E27FC236}">
                <a16:creationId xmlns:a16="http://schemas.microsoft.com/office/drawing/2014/main" id="{618487B8-C273-3B49-894B-8C8D86C67E8D}"/>
              </a:ext>
            </a:extLst>
          </p:cNvPr>
          <p:cNvSpPr/>
          <p:nvPr/>
        </p:nvSpPr>
        <p:spPr>
          <a:xfrm>
            <a:off x="4037276" y="2451986"/>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16" name="Star: 5 Points 375">
            <a:extLst>
              <a:ext uri="{FF2B5EF4-FFF2-40B4-BE49-F238E27FC236}">
                <a16:creationId xmlns:a16="http://schemas.microsoft.com/office/drawing/2014/main" id="{C21DBE62-FD4D-37C3-6D1B-AEDFA1C46D4F}"/>
              </a:ext>
            </a:extLst>
          </p:cNvPr>
          <p:cNvSpPr/>
          <p:nvPr/>
        </p:nvSpPr>
        <p:spPr>
          <a:xfrm>
            <a:off x="4331354" y="2451986"/>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17" name="Star: 5 Points 373">
            <a:extLst>
              <a:ext uri="{FF2B5EF4-FFF2-40B4-BE49-F238E27FC236}">
                <a16:creationId xmlns:a16="http://schemas.microsoft.com/office/drawing/2014/main" id="{AC06A98F-6ECD-EFF3-7FCA-F7C48510C206}"/>
              </a:ext>
            </a:extLst>
          </p:cNvPr>
          <p:cNvSpPr/>
          <p:nvPr/>
        </p:nvSpPr>
        <p:spPr>
          <a:xfrm>
            <a:off x="3756428" y="2807728"/>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18" name="Star: 5 Points 374">
            <a:extLst>
              <a:ext uri="{FF2B5EF4-FFF2-40B4-BE49-F238E27FC236}">
                <a16:creationId xmlns:a16="http://schemas.microsoft.com/office/drawing/2014/main" id="{1C900C91-B6E6-B5B1-25B6-3872F8B96EF6}"/>
              </a:ext>
            </a:extLst>
          </p:cNvPr>
          <p:cNvSpPr/>
          <p:nvPr/>
        </p:nvSpPr>
        <p:spPr>
          <a:xfrm>
            <a:off x="4043303" y="2807728"/>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19" name="Star: 5 Points 375">
            <a:extLst>
              <a:ext uri="{FF2B5EF4-FFF2-40B4-BE49-F238E27FC236}">
                <a16:creationId xmlns:a16="http://schemas.microsoft.com/office/drawing/2014/main" id="{2E8D8496-BA8C-4371-FA18-B14FF8411DD1}"/>
              </a:ext>
            </a:extLst>
          </p:cNvPr>
          <p:cNvSpPr/>
          <p:nvPr/>
        </p:nvSpPr>
        <p:spPr>
          <a:xfrm>
            <a:off x="4337381" y="2807728"/>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20" name="Star: 5 Points 373">
            <a:extLst>
              <a:ext uri="{FF2B5EF4-FFF2-40B4-BE49-F238E27FC236}">
                <a16:creationId xmlns:a16="http://schemas.microsoft.com/office/drawing/2014/main" id="{6FE6A50F-9EFD-AC75-8D72-CB91FE8A9A39}"/>
              </a:ext>
            </a:extLst>
          </p:cNvPr>
          <p:cNvSpPr/>
          <p:nvPr/>
        </p:nvSpPr>
        <p:spPr>
          <a:xfrm>
            <a:off x="3756428" y="3172156"/>
            <a:ext cx="213289" cy="184058"/>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21" name="Star: 5 Points 375">
            <a:extLst>
              <a:ext uri="{FF2B5EF4-FFF2-40B4-BE49-F238E27FC236}">
                <a16:creationId xmlns:a16="http://schemas.microsoft.com/office/drawing/2014/main" id="{4B6BD100-41E9-58F3-6C58-8E7DD4F7EF41}"/>
              </a:ext>
            </a:extLst>
          </p:cNvPr>
          <p:cNvSpPr/>
          <p:nvPr/>
        </p:nvSpPr>
        <p:spPr>
          <a:xfrm>
            <a:off x="4337381" y="3172156"/>
            <a:ext cx="213289" cy="184058"/>
          </a:xfrm>
          <a:prstGeom prst="star5">
            <a:avLst/>
          </a:prstGeom>
          <a:solidFill>
            <a:srgbClr val="BFBFBF"/>
          </a:solidFill>
          <a:ln>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36" name="Star: 5 Points 376">
            <a:extLst>
              <a:ext uri="{FF2B5EF4-FFF2-40B4-BE49-F238E27FC236}">
                <a16:creationId xmlns:a16="http://schemas.microsoft.com/office/drawing/2014/main" id="{CF253AB6-6272-294B-CCB7-A93E812A2AEE}"/>
              </a:ext>
            </a:extLst>
          </p:cNvPr>
          <p:cNvSpPr/>
          <p:nvPr/>
        </p:nvSpPr>
        <p:spPr>
          <a:xfrm>
            <a:off x="4617399" y="3172156"/>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37" name="Star: 5 Points 377">
            <a:extLst>
              <a:ext uri="{FF2B5EF4-FFF2-40B4-BE49-F238E27FC236}">
                <a16:creationId xmlns:a16="http://schemas.microsoft.com/office/drawing/2014/main" id="{A4D749A9-F23B-D771-202E-E579148D162E}"/>
              </a:ext>
            </a:extLst>
          </p:cNvPr>
          <p:cNvSpPr/>
          <p:nvPr/>
        </p:nvSpPr>
        <p:spPr>
          <a:xfrm>
            <a:off x="4897885" y="3172156"/>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38" name="Star: 5 Points 377">
            <a:extLst>
              <a:ext uri="{FF2B5EF4-FFF2-40B4-BE49-F238E27FC236}">
                <a16:creationId xmlns:a16="http://schemas.microsoft.com/office/drawing/2014/main" id="{721D7D46-7E6C-09BE-DD58-348A39BF0905}"/>
              </a:ext>
            </a:extLst>
          </p:cNvPr>
          <p:cNvSpPr/>
          <p:nvPr/>
        </p:nvSpPr>
        <p:spPr>
          <a:xfrm>
            <a:off x="5462714" y="1725222"/>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39" name="Star: 5 Points 377">
            <a:extLst>
              <a:ext uri="{FF2B5EF4-FFF2-40B4-BE49-F238E27FC236}">
                <a16:creationId xmlns:a16="http://schemas.microsoft.com/office/drawing/2014/main" id="{1C51620F-D4F5-8A92-874C-B7497A499346}"/>
              </a:ext>
            </a:extLst>
          </p:cNvPr>
          <p:cNvSpPr/>
          <p:nvPr/>
        </p:nvSpPr>
        <p:spPr>
          <a:xfrm>
            <a:off x="5468741" y="2091739"/>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48" name="Star: 5 Points 377">
            <a:extLst>
              <a:ext uri="{FF2B5EF4-FFF2-40B4-BE49-F238E27FC236}">
                <a16:creationId xmlns:a16="http://schemas.microsoft.com/office/drawing/2014/main" id="{66319FE7-5B99-F824-8678-2903CA3D1EA5}"/>
              </a:ext>
            </a:extLst>
          </p:cNvPr>
          <p:cNvSpPr/>
          <p:nvPr/>
        </p:nvSpPr>
        <p:spPr>
          <a:xfrm>
            <a:off x="5462714" y="2460311"/>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75" name="Star: 5 Points 377">
            <a:extLst>
              <a:ext uri="{FF2B5EF4-FFF2-40B4-BE49-F238E27FC236}">
                <a16:creationId xmlns:a16="http://schemas.microsoft.com/office/drawing/2014/main" id="{02A34B44-E39B-F3F2-BD55-9DC2FF789440}"/>
              </a:ext>
            </a:extLst>
          </p:cNvPr>
          <p:cNvSpPr/>
          <p:nvPr/>
        </p:nvSpPr>
        <p:spPr>
          <a:xfrm>
            <a:off x="5468741" y="2816053"/>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76" name="Star: 5 Points 376">
            <a:extLst>
              <a:ext uri="{FF2B5EF4-FFF2-40B4-BE49-F238E27FC236}">
                <a16:creationId xmlns:a16="http://schemas.microsoft.com/office/drawing/2014/main" id="{4392A91C-4997-D83F-E9AD-08A56D45772B}"/>
              </a:ext>
            </a:extLst>
          </p:cNvPr>
          <p:cNvSpPr/>
          <p:nvPr/>
        </p:nvSpPr>
        <p:spPr>
          <a:xfrm>
            <a:off x="5188255" y="3180481"/>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77" name="Star: 5 Points 377">
            <a:extLst>
              <a:ext uri="{FF2B5EF4-FFF2-40B4-BE49-F238E27FC236}">
                <a16:creationId xmlns:a16="http://schemas.microsoft.com/office/drawing/2014/main" id="{919011E8-9696-3539-8483-8C64A1CAF2A8}"/>
              </a:ext>
            </a:extLst>
          </p:cNvPr>
          <p:cNvSpPr/>
          <p:nvPr/>
        </p:nvSpPr>
        <p:spPr>
          <a:xfrm>
            <a:off x="5468741" y="3180481"/>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78" name="Star: 5 Points 373">
            <a:extLst>
              <a:ext uri="{FF2B5EF4-FFF2-40B4-BE49-F238E27FC236}">
                <a16:creationId xmlns:a16="http://schemas.microsoft.com/office/drawing/2014/main" id="{64611ECE-DE39-2F62-0D06-A643679A1261}"/>
              </a:ext>
            </a:extLst>
          </p:cNvPr>
          <p:cNvSpPr/>
          <p:nvPr/>
        </p:nvSpPr>
        <p:spPr>
          <a:xfrm>
            <a:off x="3766595" y="1330333"/>
            <a:ext cx="213289" cy="184058"/>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79" name="Star: 5 Points 377">
            <a:extLst>
              <a:ext uri="{FF2B5EF4-FFF2-40B4-BE49-F238E27FC236}">
                <a16:creationId xmlns:a16="http://schemas.microsoft.com/office/drawing/2014/main" id="{080237E9-138D-E7F2-2195-13AA6AD0753B}"/>
              </a:ext>
            </a:extLst>
          </p:cNvPr>
          <p:cNvSpPr/>
          <p:nvPr/>
        </p:nvSpPr>
        <p:spPr>
          <a:xfrm>
            <a:off x="4908052" y="1330333"/>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80" name="Star: 5 Points 376">
            <a:extLst>
              <a:ext uri="{FF2B5EF4-FFF2-40B4-BE49-F238E27FC236}">
                <a16:creationId xmlns:a16="http://schemas.microsoft.com/office/drawing/2014/main" id="{3280ED2F-1B4B-89F5-45B1-6BFEE518D1F5}"/>
              </a:ext>
            </a:extLst>
          </p:cNvPr>
          <p:cNvSpPr/>
          <p:nvPr/>
        </p:nvSpPr>
        <p:spPr>
          <a:xfrm>
            <a:off x="5198422" y="1338658"/>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81" name="Star: 5 Points 377">
            <a:extLst>
              <a:ext uri="{FF2B5EF4-FFF2-40B4-BE49-F238E27FC236}">
                <a16:creationId xmlns:a16="http://schemas.microsoft.com/office/drawing/2014/main" id="{48780ABF-3415-A387-9F5E-87DA5D576F70}"/>
              </a:ext>
            </a:extLst>
          </p:cNvPr>
          <p:cNvSpPr/>
          <p:nvPr/>
        </p:nvSpPr>
        <p:spPr>
          <a:xfrm>
            <a:off x="5478908" y="1338658"/>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82" name="Star: 5 Points 374">
            <a:extLst>
              <a:ext uri="{FF2B5EF4-FFF2-40B4-BE49-F238E27FC236}">
                <a16:creationId xmlns:a16="http://schemas.microsoft.com/office/drawing/2014/main" id="{3CE17941-461E-9AD7-A807-09A90D1F95FD}"/>
              </a:ext>
            </a:extLst>
          </p:cNvPr>
          <p:cNvSpPr/>
          <p:nvPr/>
        </p:nvSpPr>
        <p:spPr>
          <a:xfrm>
            <a:off x="4041624" y="1338069"/>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83" name="Star: 5 Points 374">
            <a:extLst>
              <a:ext uri="{FF2B5EF4-FFF2-40B4-BE49-F238E27FC236}">
                <a16:creationId xmlns:a16="http://schemas.microsoft.com/office/drawing/2014/main" id="{B3D3981E-F346-F252-71B7-C3F6A98E2DC7}"/>
              </a:ext>
            </a:extLst>
          </p:cNvPr>
          <p:cNvSpPr/>
          <p:nvPr/>
        </p:nvSpPr>
        <p:spPr>
          <a:xfrm>
            <a:off x="4333366" y="1342420"/>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grpSp>
        <p:nvGrpSpPr>
          <p:cNvPr id="8484" name="Group 8483">
            <a:extLst>
              <a:ext uri="{FF2B5EF4-FFF2-40B4-BE49-F238E27FC236}">
                <a16:creationId xmlns:a16="http://schemas.microsoft.com/office/drawing/2014/main" id="{4BBDA3E6-57DA-04AD-E51A-429D4F3C643C}"/>
              </a:ext>
            </a:extLst>
          </p:cNvPr>
          <p:cNvGrpSpPr/>
          <p:nvPr/>
        </p:nvGrpSpPr>
        <p:grpSpPr>
          <a:xfrm>
            <a:off x="4615773" y="1342493"/>
            <a:ext cx="216540" cy="189087"/>
            <a:chOff x="7586487" y="626103"/>
            <a:chExt cx="216540" cy="189087"/>
          </a:xfrm>
        </p:grpSpPr>
        <p:sp>
          <p:nvSpPr>
            <p:cNvPr id="8485" name="Star: 5 Points 376">
              <a:extLst>
                <a:ext uri="{FF2B5EF4-FFF2-40B4-BE49-F238E27FC236}">
                  <a16:creationId xmlns:a16="http://schemas.microsoft.com/office/drawing/2014/main" id="{949D711B-67B9-6DE9-8653-CDAA4727BBAD}"/>
                </a:ext>
              </a:extLst>
            </p:cNvPr>
            <p:cNvSpPr/>
            <p:nvPr/>
          </p:nvSpPr>
          <p:spPr>
            <a:xfrm>
              <a:off x="7589738" y="626103"/>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86" name="Freeform: Shape 8485">
              <a:extLst>
                <a:ext uri="{FF2B5EF4-FFF2-40B4-BE49-F238E27FC236}">
                  <a16:creationId xmlns:a16="http://schemas.microsoft.com/office/drawing/2014/main" id="{89347886-01EA-087D-5CA3-6B0BCA9301CE}"/>
                </a:ext>
              </a:extLst>
            </p:cNvPr>
            <p:cNvSpPr/>
            <p:nvPr/>
          </p:nvSpPr>
          <p:spPr>
            <a:xfrm>
              <a:off x="7586487" y="632310"/>
              <a:ext cx="110189" cy="182880"/>
            </a:xfrm>
            <a:custGeom>
              <a:avLst/>
              <a:gdLst>
                <a:gd name="connsiteX0" fmla="*/ 106645 w 110189"/>
                <a:gd name="connsiteY0" fmla="*/ 0 h 182880"/>
                <a:gd name="connsiteX1" fmla="*/ 110189 w 110189"/>
                <a:gd name="connsiteY1" fmla="*/ 9834 h 182880"/>
                <a:gd name="connsiteX2" fmla="*/ 110189 w 110189"/>
                <a:gd name="connsiteY2" fmla="*/ 142028 h 182880"/>
                <a:gd name="connsiteX3" fmla="*/ 106645 w 110189"/>
                <a:gd name="connsiteY3" fmla="*/ 139707 h 182880"/>
                <a:gd name="connsiteX4" fmla="*/ 40735 w 110189"/>
                <a:gd name="connsiteY4" fmla="*/ 182880 h 182880"/>
                <a:gd name="connsiteX5" fmla="*/ 65911 w 110189"/>
                <a:gd name="connsiteY5" fmla="*/ 113026 h 182880"/>
                <a:gd name="connsiteX6" fmla="*/ 0 w 110189"/>
                <a:gd name="connsiteY6" fmla="*/ 69854 h 182880"/>
                <a:gd name="connsiteX7" fmla="*/ 81470 w 110189"/>
                <a:gd name="connsiteY7" fmla="*/ 69854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9" h="182880">
                  <a:moveTo>
                    <a:pt x="106645" y="0"/>
                  </a:moveTo>
                  <a:lnTo>
                    <a:pt x="110189" y="9834"/>
                  </a:lnTo>
                  <a:lnTo>
                    <a:pt x="110189" y="142028"/>
                  </a:lnTo>
                  <a:lnTo>
                    <a:pt x="106645" y="139707"/>
                  </a:lnTo>
                  <a:lnTo>
                    <a:pt x="40735" y="182880"/>
                  </a:lnTo>
                  <a:lnTo>
                    <a:pt x="65911" y="113026"/>
                  </a:lnTo>
                  <a:lnTo>
                    <a:pt x="0" y="69854"/>
                  </a:lnTo>
                  <a:lnTo>
                    <a:pt x="81470" y="69854"/>
                  </a:lnTo>
                  <a:close/>
                </a:path>
              </a:pathLst>
            </a:custGeom>
            <a:solidFill>
              <a:srgbClr val="00A54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grpSp>
      <p:sp>
        <p:nvSpPr>
          <p:cNvPr id="8487" name="Star: 5 Points 375">
            <a:extLst>
              <a:ext uri="{FF2B5EF4-FFF2-40B4-BE49-F238E27FC236}">
                <a16:creationId xmlns:a16="http://schemas.microsoft.com/office/drawing/2014/main" id="{F6B4A82C-651A-A83C-8B1E-E2BF58907565}"/>
              </a:ext>
            </a:extLst>
          </p:cNvPr>
          <p:cNvSpPr/>
          <p:nvPr/>
        </p:nvSpPr>
        <p:spPr>
          <a:xfrm>
            <a:off x="4611371" y="1718986"/>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488" name="Star: 5 Points 374">
            <a:extLst>
              <a:ext uri="{FF2B5EF4-FFF2-40B4-BE49-F238E27FC236}">
                <a16:creationId xmlns:a16="http://schemas.microsoft.com/office/drawing/2014/main" id="{3EA681DB-6B20-66C9-8418-D67A3A035A5A}"/>
              </a:ext>
            </a:extLst>
          </p:cNvPr>
          <p:cNvSpPr/>
          <p:nvPr/>
        </p:nvSpPr>
        <p:spPr>
          <a:xfrm>
            <a:off x="4894636" y="1728540"/>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502" name="Star: 5 Points 375">
            <a:extLst>
              <a:ext uri="{FF2B5EF4-FFF2-40B4-BE49-F238E27FC236}">
                <a16:creationId xmlns:a16="http://schemas.microsoft.com/office/drawing/2014/main" id="{490A7AF9-CC39-F42B-8CFB-BFA24E04C8FD}"/>
              </a:ext>
            </a:extLst>
          </p:cNvPr>
          <p:cNvSpPr/>
          <p:nvPr/>
        </p:nvSpPr>
        <p:spPr>
          <a:xfrm>
            <a:off x="4614159" y="2085679"/>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503" name="Star: 5 Points 374">
            <a:extLst>
              <a:ext uri="{FF2B5EF4-FFF2-40B4-BE49-F238E27FC236}">
                <a16:creationId xmlns:a16="http://schemas.microsoft.com/office/drawing/2014/main" id="{63C23D94-3E79-1B64-878A-B5129DB09995}"/>
              </a:ext>
            </a:extLst>
          </p:cNvPr>
          <p:cNvSpPr/>
          <p:nvPr/>
        </p:nvSpPr>
        <p:spPr>
          <a:xfrm>
            <a:off x="4897424" y="2095233"/>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513" name="Star: 5 Points 375">
            <a:extLst>
              <a:ext uri="{FF2B5EF4-FFF2-40B4-BE49-F238E27FC236}">
                <a16:creationId xmlns:a16="http://schemas.microsoft.com/office/drawing/2014/main" id="{7F665A9D-5060-DAA3-4900-1AB6574E31F5}"/>
              </a:ext>
            </a:extLst>
          </p:cNvPr>
          <p:cNvSpPr/>
          <p:nvPr/>
        </p:nvSpPr>
        <p:spPr>
          <a:xfrm>
            <a:off x="4615773" y="2459773"/>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514" name="Star: 5 Points 374">
            <a:extLst>
              <a:ext uri="{FF2B5EF4-FFF2-40B4-BE49-F238E27FC236}">
                <a16:creationId xmlns:a16="http://schemas.microsoft.com/office/drawing/2014/main" id="{E66E71AD-D57D-39E0-09C3-B994F91EC5D5}"/>
              </a:ext>
            </a:extLst>
          </p:cNvPr>
          <p:cNvSpPr/>
          <p:nvPr/>
        </p:nvSpPr>
        <p:spPr>
          <a:xfrm>
            <a:off x="4899038" y="2469327"/>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518" name="Star: 5 Points 375">
            <a:extLst>
              <a:ext uri="{FF2B5EF4-FFF2-40B4-BE49-F238E27FC236}">
                <a16:creationId xmlns:a16="http://schemas.microsoft.com/office/drawing/2014/main" id="{A8B2B9CC-9B05-01B0-4BA4-D79D412278C9}"/>
              </a:ext>
            </a:extLst>
          </p:cNvPr>
          <p:cNvSpPr/>
          <p:nvPr/>
        </p:nvSpPr>
        <p:spPr>
          <a:xfrm>
            <a:off x="4609357" y="2823359"/>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519" name="Star: 5 Points 374">
            <a:extLst>
              <a:ext uri="{FF2B5EF4-FFF2-40B4-BE49-F238E27FC236}">
                <a16:creationId xmlns:a16="http://schemas.microsoft.com/office/drawing/2014/main" id="{C55402CD-0305-7106-DF4B-02B5240C9B1C}"/>
              </a:ext>
            </a:extLst>
          </p:cNvPr>
          <p:cNvSpPr/>
          <p:nvPr/>
        </p:nvSpPr>
        <p:spPr>
          <a:xfrm>
            <a:off x="4892622" y="2832913"/>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grpSp>
        <p:nvGrpSpPr>
          <p:cNvPr id="8524" name="Group 8523">
            <a:extLst>
              <a:ext uri="{FF2B5EF4-FFF2-40B4-BE49-F238E27FC236}">
                <a16:creationId xmlns:a16="http://schemas.microsoft.com/office/drawing/2014/main" id="{ED95A7CE-949C-F96F-4455-9001C517AD85}"/>
              </a:ext>
            </a:extLst>
          </p:cNvPr>
          <p:cNvGrpSpPr/>
          <p:nvPr/>
        </p:nvGrpSpPr>
        <p:grpSpPr>
          <a:xfrm>
            <a:off x="4052521" y="3176147"/>
            <a:ext cx="216540" cy="189087"/>
            <a:chOff x="7586487" y="626103"/>
            <a:chExt cx="216540" cy="189087"/>
          </a:xfrm>
        </p:grpSpPr>
        <p:sp>
          <p:nvSpPr>
            <p:cNvPr id="8525" name="Star: 5 Points 376">
              <a:extLst>
                <a:ext uri="{FF2B5EF4-FFF2-40B4-BE49-F238E27FC236}">
                  <a16:creationId xmlns:a16="http://schemas.microsoft.com/office/drawing/2014/main" id="{B451E969-FD44-A3B9-B652-353E48B78378}"/>
                </a:ext>
              </a:extLst>
            </p:cNvPr>
            <p:cNvSpPr/>
            <p:nvPr/>
          </p:nvSpPr>
          <p:spPr>
            <a:xfrm>
              <a:off x="7589738" y="626103"/>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526" name="Freeform: Shape 8525">
              <a:extLst>
                <a:ext uri="{FF2B5EF4-FFF2-40B4-BE49-F238E27FC236}">
                  <a16:creationId xmlns:a16="http://schemas.microsoft.com/office/drawing/2014/main" id="{DD7F6E9E-E585-5F6F-6699-A68BBE0A7308}"/>
                </a:ext>
              </a:extLst>
            </p:cNvPr>
            <p:cNvSpPr/>
            <p:nvPr/>
          </p:nvSpPr>
          <p:spPr>
            <a:xfrm>
              <a:off x="7586487" y="632310"/>
              <a:ext cx="110189" cy="182880"/>
            </a:xfrm>
            <a:custGeom>
              <a:avLst/>
              <a:gdLst>
                <a:gd name="connsiteX0" fmla="*/ 106645 w 110189"/>
                <a:gd name="connsiteY0" fmla="*/ 0 h 182880"/>
                <a:gd name="connsiteX1" fmla="*/ 110189 w 110189"/>
                <a:gd name="connsiteY1" fmla="*/ 9834 h 182880"/>
                <a:gd name="connsiteX2" fmla="*/ 110189 w 110189"/>
                <a:gd name="connsiteY2" fmla="*/ 142028 h 182880"/>
                <a:gd name="connsiteX3" fmla="*/ 106645 w 110189"/>
                <a:gd name="connsiteY3" fmla="*/ 139707 h 182880"/>
                <a:gd name="connsiteX4" fmla="*/ 40735 w 110189"/>
                <a:gd name="connsiteY4" fmla="*/ 182880 h 182880"/>
                <a:gd name="connsiteX5" fmla="*/ 65911 w 110189"/>
                <a:gd name="connsiteY5" fmla="*/ 113026 h 182880"/>
                <a:gd name="connsiteX6" fmla="*/ 0 w 110189"/>
                <a:gd name="connsiteY6" fmla="*/ 69854 h 182880"/>
                <a:gd name="connsiteX7" fmla="*/ 81470 w 110189"/>
                <a:gd name="connsiteY7" fmla="*/ 69854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9" h="182880">
                  <a:moveTo>
                    <a:pt x="106645" y="0"/>
                  </a:moveTo>
                  <a:lnTo>
                    <a:pt x="110189" y="9834"/>
                  </a:lnTo>
                  <a:lnTo>
                    <a:pt x="110189" y="142028"/>
                  </a:lnTo>
                  <a:lnTo>
                    <a:pt x="106645" y="139707"/>
                  </a:lnTo>
                  <a:lnTo>
                    <a:pt x="40735" y="182880"/>
                  </a:lnTo>
                  <a:lnTo>
                    <a:pt x="65911" y="113026"/>
                  </a:lnTo>
                  <a:lnTo>
                    <a:pt x="0" y="69854"/>
                  </a:lnTo>
                  <a:lnTo>
                    <a:pt x="81470" y="69854"/>
                  </a:lnTo>
                  <a:close/>
                </a:path>
              </a:pathLst>
            </a:custGeom>
            <a:solidFill>
              <a:srgbClr val="00A54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grpSp>
      <p:sp>
        <p:nvSpPr>
          <p:cNvPr id="8528" name="Star: 5 Points 373">
            <a:extLst>
              <a:ext uri="{FF2B5EF4-FFF2-40B4-BE49-F238E27FC236}">
                <a16:creationId xmlns:a16="http://schemas.microsoft.com/office/drawing/2014/main" id="{5B8367B3-5362-5851-92D8-DAAA55EE780C}"/>
              </a:ext>
            </a:extLst>
          </p:cNvPr>
          <p:cNvSpPr/>
          <p:nvPr/>
        </p:nvSpPr>
        <p:spPr>
          <a:xfrm>
            <a:off x="6689923" y="1706098"/>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529" name="Star: 5 Points 374">
            <a:extLst>
              <a:ext uri="{FF2B5EF4-FFF2-40B4-BE49-F238E27FC236}">
                <a16:creationId xmlns:a16="http://schemas.microsoft.com/office/drawing/2014/main" id="{C41AE4D5-76FD-C38E-7C5F-515EB02E4C1C}"/>
              </a:ext>
            </a:extLst>
          </p:cNvPr>
          <p:cNvSpPr/>
          <p:nvPr/>
        </p:nvSpPr>
        <p:spPr>
          <a:xfrm>
            <a:off x="6976798" y="1706098"/>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530" name="Star: 5 Points 375">
            <a:extLst>
              <a:ext uri="{FF2B5EF4-FFF2-40B4-BE49-F238E27FC236}">
                <a16:creationId xmlns:a16="http://schemas.microsoft.com/office/drawing/2014/main" id="{778BC12C-4C8A-8257-299D-1D609A866591}"/>
              </a:ext>
            </a:extLst>
          </p:cNvPr>
          <p:cNvSpPr/>
          <p:nvPr/>
        </p:nvSpPr>
        <p:spPr>
          <a:xfrm>
            <a:off x="7270876" y="1706098"/>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532" name="Star: 5 Points 373">
            <a:extLst>
              <a:ext uri="{FF2B5EF4-FFF2-40B4-BE49-F238E27FC236}">
                <a16:creationId xmlns:a16="http://schemas.microsoft.com/office/drawing/2014/main" id="{D0FDBDE0-F543-5757-10ED-5D4E4629DFEA}"/>
              </a:ext>
            </a:extLst>
          </p:cNvPr>
          <p:cNvSpPr/>
          <p:nvPr/>
        </p:nvSpPr>
        <p:spPr>
          <a:xfrm>
            <a:off x="6695950" y="2072615"/>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534" name="Star: 5 Points 374">
            <a:extLst>
              <a:ext uri="{FF2B5EF4-FFF2-40B4-BE49-F238E27FC236}">
                <a16:creationId xmlns:a16="http://schemas.microsoft.com/office/drawing/2014/main" id="{03879F81-AF61-4B9E-6D9E-345163A5052E}"/>
              </a:ext>
            </a:extLst>
          </p:cNvPr>
          <p:cNvSpPr/>
          <p:nvPr/>
        </p:nvSpPr>
        <p:spPr>
          <a:xfrm>
            <a:off x="6982825" y="2072615"/>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120" name="Star: 5 Points 375">
            <a:extLst>
              <a:ext uri="{FF2B5EF4-FFF2-40B4-BE49-F238E27FC236}">
                <a16:creationId xmlns:a16="http://schemas.microsoft.com/office/drawing/2014/main" id="{F1FE9D8E-E120-17D5-CED3-7345698AF0C7}"/>
              </a:ext>
            </a:extLst>
          </p:cNvPr>
          <p:cNvSpPr/>
          <p:nvPr/>
        </p:nvSpPr>
        <p:spPr>
          <a:xfrm>
            <a:off x="7276903" y="2072615"/>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124" name="Star: 5 Points 373">
            <a:extLst>
              <a:ext uri="{FF2B5EF4-FFF2-40B4-BE49-F238E27FC236}">
                <a16:creationId xmlns:a16="http://schemas.microsoft.com/office/drawing/2014/main" id="{C085847A-A071-1E3C-BF39-D21EB1E28CA0}"/>
              </a:ext>
            </a:extLst>
          </p:cNvPr>
          <p:cNvSpPr/>
          <p:nvPr/>
        </p:nvSpPr>
        <p:spPr>
          <a:xfrm>
            <a:off x="6689923" y="2441187"/>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125" name="Star: 5 Points 374">
            <a:extLst>
              <a:ext uri="{FF2B5EF4-FFF2-40B4-BE49-F238E27FC236}">
                <a16:creationId xmlns:a16="http://schemas.microsoft.com/office/drawing/2014/main" id="{3E5BC829-7F41-C049-8F8E-43973B42CBA0}"/>
              </a:ext>
            </a:extLst>
          </p:cNvPr>
          <p:cNvSpPr/>
          <p:nvPr/>
        </p:nvSpPr>
        <p:spPr>
          <a:xfrm>
            <a:off x="6976798" y="2441187"/>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126" name="Star: 5 Points 375">
            <a:extLst>
              <a:ext uri="{FF2B5EF4-FFF2-40B4-BE49-F238E27FC236}">
                <a16:creationId xmlns:a16="http://schemas.microsoft.com/office/drawing/2014/main" id="{F7A8A141-A76F-DE97-7FAF-AB2F8F94A53B}"/>
              </a:ext>
            </a:extLst>
          </p:cNvPr>
          <p:cNvSpPr/>
          <p:nvPr/>
        </p:nvSpPr>
        <p:spPr>
          <a:xfrm>
            <a:off x="7270876" y="2441187"/>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127" name="Star: 5 Points 373">
            <a:extLst>
              <a:ext uri="{FF2B5EF4-FFF2-40B4-BE49-F238E27FC236}">
                <a16:creationId xmlns:a16="http://schemas.microsoft.com/office/drawing/2014/main" id="{0917A2BD-1FEF-08A6-AC24-B3F8CD5EBFFF}"/>
              </a:ext>
            </a:extLst>
          </p:cNvPr>
          <p:cNvSpPr/>
          <p:nvPr/>
        </p:nvSpPr>
        <p:spPr>
          <a:xfrm>
            <a:off x="6695950" y="2796929"/>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128" name="Star: 5 Points 374">
            <a:extLst>
              <a:ext uri="{FF2B5EF4-FFF2-40B4-BE49-F238E27FC236}">
                <a16:creationId xmlns:a16="http://schemas.microsoft.com/office/drawing/2014/main" id="{C24BEDA4-E7BA-6423-38E9-59C01B089A55}"/>
              </a:ext>
            </a:extLst>
          </p:cNvPr>
          <p:cNvSpPr/>
          <p:nvPr/>
        </p:nvSpPr>
        <p:spPr>
          <a:xfrm>
            <a:off x="6982825" y="2796929"/>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129" name="Star: 5 Points 375">
            <a:extLst>
              <a:ext uri="{FF2B5EF4-FFF2-40B4-BE49-F238E27FC236}">
                <a16:creationId xmlns:a16="http://schemas.microsoft.com/office/drawing/2014/main" id="{BF2966D9-8F11-6101-E200-A8C2E1C0F9B0}"/>
              </a:ext>
            </a:extLst>
          </p:cNvPr>
          <p:cNvSpPr/>
          <p:nvPr/>
        </p:nvSpPr>
        <p:spPr>
          <a:xfrm>
            <a:off x="7276903" y="2796929"/>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130" name="Star: 5 Points 373">
            <a:extLst>
              <a:ext uri="{FF2B5EF4-FFF2-40B4-BE49-F238E27FC236}">
                <a16:creationId xmlns:a16="http://schemas.microsoft.com/office/drawing/2014/main" id="{9D4C069D-39EC-438F-78DC-FAF36A1686F4}"/>
              </a:ext>
            </a:extLst>
          </p:cNvPr>
          <p:cNvSpPr/>
          <p:nvPr/>
        </p:nvSpPr>
        <p:spPr>
          <a:xfrm>
            <a:off x="6695950" y="3161357"/>
            <a:ext cx="213289" cy="184058"/>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131" name="Star: 5 Points 375">
            <a:extLst>
              <a:ext uri="{FF2B5EF4-FFF2-40B4-BE49-F238E27FC236}">
                <a16:creationId xmlns:a16="http://schemas.microsoft.com/office/drawing/2014/main" id="{67BED8F6-22D5-4407-9033-DF9BB401180A}"/>
              </a:ext>
            </a:extLst>
          </p:cNvPr>
          <p:cNvSpPr/>
          <p:nvPr/>
        </p:nvSpPr>
        <p:spPr>
          <a:xfrm>
            <a:off x="7276903" y="3161357"/>
            <a:ext cx="213289" cy="184058"/>
          </a:xfrm>
          <a:prstGeom prst="star5">
            <a:avLst/>
          </a:prstGeom>
          <a:solidFill>
            <a:srgbClr val="BFBFBF"/>
          </a:solidFill>
          <a:ln>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280" name="Star: 5 Points 376">
            <a:extLst>
              <a:ext uri="{FF2B5EF4-FFF2-40B4-BE49-F238E27FC236}">
                <a16:creationId xmlns:a16="http://schemas.microsoft.com/office/drawing/2014/main" id="{993AC9BC-8613-E2DF-D678-C3F29C1A5449}"/>
              </a:ext>
            </a:extLst>
          </p:cNvPr>
          <p:cNvSpPr/>
          <p:nvPr/>
        </p:nvSpPr>
        <p:spPr>
          <a:xfrm>
            <a:off x="7556921" y="3161357"/>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281" name="Star: 5 Points 377">
            <a:extLst>
              <a:ext uri="{FF2B5EF4-FFF2-40B4-BE49-F238E27FC236}">
                <a16:creationId xmlns:a16="http://schemas.microsoft.com/office/drawing/2014/main" id="{BEDE099C-A717-67EC-DD51-1A53C1BBC213}"/>
              </a:ext>
            </a:extLst>
          </p:cNvPr>
          <p:cNvSpPr/>
          <p:nvPr/>
        </p:nvSpPr>
        <p:spPr>
          <a:xfrm>
            <a:off x="7837407" y="3161357"/>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282" name="Star: 5 Points 377">
            <a:extLst>
              <a:ext uri="{FF2B5EF4-FFF2-40B4-BE49-F238E27FC236}">
                <a16:creationId xmlns:a16="http://schemas.microsoft.com/office/drawing/2014/main" id="{572F10F5-3A27-95C4-1664-42F67A910D20}"/>
              </a:ext>
            </a:extLst>
          </p:cNvPr>
          <p:cNvSpPr/>
          <p:nvPr/>
        </p:nvSpPr>
        <p:spPr>
          <a:xfrm>
            <a:off x="8402236" y="1714423"/>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283" name="Star: 5 Points 377">
            <a:extLst>
              <a:ext uri="{FF2B5EF4-FFF2-40B4-BE49-F238E27FC236}">
                <a16:creationId xmlns:a16="http://schemas.microsoft.com/office/drawing/2014/main" id="{37F11774-1117-CB04-A099-CBC226D29DE5}"/>
              </a:ext>
            </a:extLst>
          </p:cNvPr>
          <p:cNvSpPr/>
          <p:nvPr/>
        </p:nvSpPr>
        <p:spPr>
          <a:xfrm>
            <a:off x="8408263" y="2080940"/>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285" name="Star: 5 Points 377">
            <a:extLst>
              <a:ext uri="{FF2B5EF4-FFF2-40B4-BE49-F238E27FC236}">
                <a16:creationId xmlns:a16="http://schemas.microsoft.com/office/drawing/2014/main" id="{530034DD-0819-93E9-3F6C-8B96AA6DB3E2}"/>
              </a:ext>
            </a:extLst>
          </p:cNvPr>
          <p:cNvSpPr/>
          <p:nvPr/>
        </p:nvSpPr>
        <p:spPr>
          <a:xfrm>
            <a:off x="8402236" y="2449512"/>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286" name="Star: 5 Points 377">
            <a:extLst>
              <a:ext uri="{FF2B5EF4-FFF2-40B4-BE49-F238E27FC236}">
                <a16:creationId xmlns:a16="http://schemas.microsoft.com/office/drawing/2014/main" id="{F2C09235-9BD0-3F20-49E6-F9FF052C52F3}"/>
              </a:ext>
            </a:extLst>
          </p:cNvPr>
          <p:cNvSpPr/>
          <p:nvPr/>
        </p:nvSpPr>
        <p:spPr>
          <a:xfrm>
            <a:off x="8408263" y="2805254"/>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287" name="Star: 5 Points 376">
            <a:extLst>
              <a:ext uri="{FF2B5EF4-FFF2-40B4-BE49-F238E27FC236}">
                <a16:creationId xmlns:a16="http://schemas.microsoft.com/office/drawing/2014/main" id="{263654D3-548C-5A30-B92C-78197EC19FEE}"/>
              </a:ext>
            </a:extLst>
          </p:cNvPr>
          <p:cNvSpPr/>
          <p:nvPr/>
        </p:nvSpPr>
        <p:spPr>
          <a:xfrm>
            <a:off x="8127777" y="3169682"/>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288" name="Star: 5 Points 377">
            <a:extLst>
              <a:ext uri="{FF2B5EF4-FFF2-40B4-BE49-F238E27FC236}">
                <a16:creationId xmlns:a16="http://schemas.microsoft.com/office/drawing/2014/main" id="{E2ADF113-95DB-421F-E35E-5D8C9367AA5A}"/>
              </a:ext>
            </a:extLst>
          </p:cNvPr>
          <p:cNvSpPr/>
          <p:nvPr/>
        </p:nvSpPr>
        <p:spPr>
          <a:xfrm>
            <a:off x="8408263" y="3169682"/>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289" name="Star: 5 Points 373">
            <a:extLst>
              <a:ext uri="{FF2B5EF4-FFF2-40B4-BE49-F238E27FC236}">
                <a16:creationId xmlns:a16="http://schemas.microsoft.com/office/drawing/2014/main" id="{B47AE28F-ED2E-6F18-270A-933D4D8F93C5}"/>
              </a:ext>
            </a:extLst>
          </p:cNvPr>
          <p:cNvSpPr/>
          <p:nvPr/>
        </p:nvSpPr>
        <p:spPr>
          <a:xfrm>
            <a:off x="6706117" y="1319534"/>
            <a:ext cx="213289" cy="184058"/>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290" name="Star: 5 Points 377">
            <a:extLst>
              <a:ext uri="{FF2B5EF4-FFF2-40B4-BE49-F238E27FC236}">
                <a16:creationId xmlns:a16="http://schemas.microsoft.com/office/drawing/2014/main" id="{0F284093-B0A8-6500-F9AC-D83C915602E1}"/>
              </a:ext>
            </a:extLst>
          </p:cNvPr>
          <p:cNvSpPr/>
          <p:nvPr/>
        </p:nvSpPr>
        <p:spPr>
          <a:xfrm>
            <a:off x="7847574" y="1319534"/>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291" name="Star: 5 Points 376">
            <a:extLst>
              <a:ext uri="{FF2B5EF4-FFF2-40B4-BE49-F238E27FC236}">
                <a16:creationId xmlns:a16="http://schemas.microsoft.com/office/drawing/2014/main" id="{91C73745-1B02-58E3-B6EB-85BC40E7B382}"/>
              </a:ext>
            </a:extLst>
          </p:cNvPr>
          <p:cNvSpPr/>
          <p:nvPr/>
        </p:nvSpPr>
        <p:spPr>
          <a:xfrm>
            <a:off x="8137944" y="1327859"/>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292" name="Star: 5 Points 377">
            <a:extLst>
              <a:ext uri="{FF2B5EF4-FFF2-40B4-BE49-F238E27FC236}">
                <a16:creationId xmlns:a16="http://schemas.microsoft.com/office/drawing/2014/main" id="{10B4DC03-6733-0700-726A-7E10FED40039}"/>
              </a:ext>
            </a:extLst>
          </p:cNvPr>
          <p:cNvSpPr/>
          <p:nvPr/>
        </p:nvSpPr>
        <p:spPr>
          <a:xfrm>
            <a:off x="8418430" y="1327859"/>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293" name="Star: 5 Points 374">
            <a:extLst>
              <a:ext uri="{FF2B5EF4-FFF2-40B4-BE49-F238E27FC236}">
                <a16:creationId xmlns:a16="http://schemas.microsoft.com/office/drawing/2014/main" id="{6A96335B-73BF-F2DA-41F9-186716936A37}"/>
              </a:ext>
            </a:extLst>
          </p:cNvPr>
          <p:cNvSpPr/>
          <p:nvPr/>
        </p:nvSpPr>
        <p:spPr>
          <a:xfrm>
            <a:off x="6981146" y="1327270"/>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294" name="Star: 5 Points 374">
            <a:extLst>
              <a:ext uri="{FF2B5EF4-FFF2-40B4-BE49-F238E27FC236}">
                <a16:creationId xmlns:a16="http://schemas.microsoft.com/office/drawing/2014/main" id="{20452509-D65D-F8DE-5E3F-599D7E8786AD}"/>
              </a:ext>
            </a:extLst>
          </p:cNvPr>
          <p:cNvSpPr/>
          <p:nvPr/>
        </p:nvSpPr>
        <p:spPr>
          <a:xfrm>
            <a:off x="7272888" y="1331621"/>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grpSp>
        <p:nvGrpSpPr>
          <p:cNvPr id="5295" name="Group 5294">
            <a:extLst>
              <a:ext uri="{FF2B5EF4-FFF2-40B4-BE49-F238E27FC236}">
                <a16:creationId xmlns:a16="http://schemas.microsoft.com/office/drawing/2014/main" id="{CF8FAD2F-33B4-0555-9AB1-60B217E129B6}"/>
              </a:ext>
            </a:extLst>
          </p:cNvPr>
          <p:cNvGrpSpPr/>
          <p:nvPr/>
        </p:nvGrpSpPr>
        <p:grpSpPr>
          <a:xfrm>
            <a:off x="7555295" y="1331694"/>
            <a:ext cx="216540" cy="189087"/>
            <a:chOff x="7586487" y="626103"/>
            <a:chExt cx="216540" cy="189087"/>
          </a:xfrm>
        </p:grpSpPr>
        <p:sp>
          <p:nvSpPr>
            <p:cNvPr id="5296" name="Star: 5 Points 376">
              <a:extLst>
                <a:ext uri="{FF2B5EF4-FFF2-40B4-BE49-F238E27FC236}">
                  <a16:creationId xmlns:a16="http://schemas.microsoft.com/office/drawing/2014/main" id="{A597B94B-2A15-8DBE-DE83-684480C56FE4}"/>
                </a:ext>
              </a:extLst>
            </p:cNvPr>
            <p:cNvSpPr/>
            <p:nvPr/>
          </p:nvSpPr>
          <p:spPr>
            <a:xfrm>
              <a:off x="7589738" y="626103"/>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297" name="Freeform: Shape 5296">
              <a:extLst>
                <a:ext uri="{FF2B5EF4-FFF2-40B4-BE49-F238E27FC236}">
                  <a16:creationId xmlns:a16="http://schemas.microsoft.com/office/drawing/2014/main" id="{B4D2130D-A9E9-1F13-E14D-B84BADE4431F}"/>
                </a:ext>
              </a:extLst>
            </p:cNvPr>
            <p:cNvSpPr/>
            <p:nvPr/>
          </p:nvSpPr>
          <p:spPr>
            <a:xfrm>
              <a:off x="7586487" y="632310"/>
              <a:ext cx="110189" cy="182880"/>
            </a:xfrm>
            <a:custGeom>
              <a:avLst/>
              <a:gdLst>
                <a:gd name="connsiteX0" fmla="*/ 106645 w 110189"/>
                <a:gd name="connsiteY0" fmla="*/ 0 h 182880"/>
                <a:gd name="connsiteX1" fmla="*/ 110189 w 110189"/>
                <a:gd name="connsiteY1" fmla="*/ 9834 h 182880"/>
                <a:gd name="connsiteX2" fmla="*/ 110189 w 110189"/>
                <a:gd name="connsiteY2" fmla="*/ 142028 h 182880"/>
                <a:gd name="connsiteX3" fmla="*/ 106645 w 110189"/>
                <a:gd name="connsiteY3" fmla="*/ 139707 h 182880"/>
                <a:gd name="connsiteX4" fmla="*/ 40735 w 110189"/>
                <a:gd name="connsiteY4" fmla="*/ 182880 h 182880"/>
                <a:gd name="connsiteX5" fmla="*/ 65911 w 110189"/>
                <a:gd name="connsiteY5" fmla="*/ 113026 h 182880"/>
                <a:gd name="connsiteX6" fmla="*/ 0 w 110189"/>
                <a:gd name="connsiteY6" fmla="*/ 69854 h 182880"/>
                <a:gd name="connsiteX7" fmla="*/ 81470 w 110189"/>
                <a:gd name="connsiteY7" fmla="*/ 69854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9" h="182880">
                  <a:moveTo>
                    <a:pt x="106645" y="0"/>
                  </a:moveTo>
                  <a:lnTo>
                    <a:pt x="110189" y="9834"/>
                  </a:lnTo>
                  <a:lnTo>
                    <a:pt x="110189" y="142028"/>
                  </a:lnTo>
                  <a:lnTo>
                    <a:pt x="106645" y="139707"/>
                  </a:lnTo>
                  <a:lnTo>
                    <a:pt x="40735" y="182880"/>
                  </a:lnTo>
                  <a:lnTo>
                    <a:pt x="65911" y="113026"/>
                  </a:lnTo>
                  <a:lnTo>
                    <a:pt x="0" y="69854"/>
                  </a:lnTo>
                  <a:lnTo>
                    <a:pt x="81470" y="69854"/>
                  </a:lnTo>
                  <a:close/>
                </a:path>
              </a:pathLst>
            </a:custGeom>
            <a:solidFill>
              <a:srgbClr val="00A54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grpSp>
      <p:sp>
        <p:nvSpPr>
          <p:cNvPr id="5298" name="Star: 5 Points 375">
            <a:extLst>
              <a:ext uri="{FF2B5EF4-FFF2-40B4-BE49-F238E27FC236}">
                <a16:creationId xmlns:a16="http://schemas.microsoft.com/office/drawing/2014/main" id="{03B00D83-D170-5023-BEDB-A2DF2E8DCE23}"/>
              </a:ext>
            </a:extLst>
          </p:cNvPr>
          <p:cNvSpPr/>
          <p:nvPr/>
        </p:nvSpPr>
        <p:spPr>
          <a:xfrm>
            <a:off x="7550893" y="1708187"/>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299" name="Star: 5 Points 374">
            <a:extLst>
              <a:ext uri="{FF2B5EF4-FFF2-40B4-BE49-F238E27FC236}">
                <a16:creationId xmlns:a16="http://schemas.microsoft.com/office/drawing/2014/main" id="{6973C3AB-1090-3868-F35E-78CD57CF5931}"/>
              </a:ext>
            </a:extLst>
          </p:cNvPr>
          <p:cNvSpPr/>
          <p:nvPr/>
        </p:nvSpPr>
        <p:spPr>
          <a:xfrm>
            <a:off x="7834158" y="1717741"/>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303" name="Star: 5 Points 375">
            <a:extLst>
              <a:ext uri="{FF2B5EF4-FFF2-40B4-BE49-F238E27FC236}">
                <a16:creationId xmlns:a16="http://schemas.microsoft.com/office/drawing/2014/main" id="{27BB86F8-9709-51B7-4268-97B831A7C1CF}"/>
              </a:ext>
            </a:extLst>
          </p:cNvPr>
          <p:cNvSpPr/>
          <p:nvPr/>
        </p:nvSpPr>
        <p:spPr>
          <a:xfrm>
            <a:off x="7553681" y="2074880"/>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304" name="Star: 5 Points 374">
            <a:extLst>
              <a:ext uri="{FF2B5EF4-FFF2-40B4-BE49-F238E27FC236}">
                <a16:creationId xmlns:a16="http://schemas.microsoft.com/office/drawing/2014/main" id="{F857507A-4113-2A0C-DF4D-7613A3C732E9}"/>
              </a:ext>
            </a:extLst>
          </p:cNvPr>
          <p:cNvSpPr/>
          <p:nvPr/>
        </p:nvSpPr>
        <p:spPr>
          <a:xfrm>
            <a:off x="7836946" y="2084434"/>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308" name="Star: 5 Points 375">
            <a:extLst>
              <a:ext uri="{FF2B5EF4-FFF2-40B4-BE49-F238E27FC236}">
                <a16:creationId xmlns:a16="http://schemas.microsoft.com/office/drawing/2014/main" id="{039425A6-7716-4F00-5EE9-07618AD02CFA}"/>
              </a:ext>
            </a:extLst>
          </p:cNvPr>
          <p:cNvSpPr/>
          <p:nvPr/>
        </p:nvSpPr>
        <p:spPr>
          <a:xfrm>
            <a:off x="7555295" y="2448974"/>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309" name="Star: 5 Points 374">
            <a:extLst>
              <a:ext uri="{FF2B5EF4-FFF2-40B4-BE49-F238E27FC236}">
                <a16:creationId xmlns:a16="http://schemas.microsoft.com/office/drawing/2014/main" id="{87D7088F-C777-9DC4-BC0C-5CB4A2A1ED43}"/>
              </a:ext>
            </a:extLst>
          </p:cNvPr>
          <p:cNvSpPr/>
          <p:nvPr/>
        </p:nvSpPr>
        <p:spPr>
          <a:xfrm>
            <a:off x="7838560" y="2458528"/>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193" name="Star: 5 Points 375">
            <a:extLst>
              <a:ext uri="{FF2B5EF4-FFF2-40B4-BE49-F238E27FC236}">
                <a16:creationId xmlns:a16="http://schemas.microsoft.com/office/drawing/2014/main" id="{382432C1-B84A-F889-1B5D-553FC1D30D51}"/>
              </a:ext>
            </a:extLst>
          </p:cNvPr>
          <p:cNvSpPr/>
          <p:nvPr/>
        </p:nvSpPr>
        <p:spPr>
          <a:xfrm>
            <a:off x="7548879" y="2812560"/>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195" name="Star: 5 Points 374">
            <a:extLst>
              <a:ext uri="{FF2B5EF4-FFF2-40B4-BE49-F238E27FC236}">
                <a16:creationId xmlns:a16="http://schemas.microsoft.com/office/drawing/2014/main" id="{C3457051-0778-2228-378E-8FD39EB42117}"/>
              </a:ext>
            </a:extLst>
          </p:cNvPr>
          <p:cNvSpPr/>
          <p:nvPr/>
        </p:nvSpPr>
        <p:spPr>
          <a:xfrm>
            <a:off x="7832144" y="2822114"/>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grpSp>
        <p:nvGrpSpPr>
          <p:cNvPr id="8201" name="Group 8200">
            <a:extLst>
              <a:ext uri="{FF2B5EF4-FFF2-40B4-BE49-F238E27FC236}">
                <a16:creationId xmlns:a16="http://schemas.microsoft.com/office/drawing/2014/main" id="{09838A62-0B57-5C98-B9D0-86CEECF08A9B}"/>
              </a:ext>
            </a:extLst>
          </p:cNvPr>
          <p:cNvGrpSpPr/>
          <p:nvPr/>
        </p:nvGrpSpPr>
        <p:grpSpPr>
          <a:xfrm>
            <a:off x="6992043" y="3165348"/>
            <a:ext cx="216540" cy="189087"/>
            <a:chOff x="7586487" y="626103"/>
            <a:chExt cx="216540" cy="189087"/>
          </a:xfrm>
        </p:grpSpPr>
        <p:sp>
          <p:nvSpPr>
            <p:cNvPr id="8202" name="Star: 5 Points 376">
              <a:extLst>
                <a:ext uri="{FF2B5EF4-FFF2-40B4-BE49-F238E27FC236}">
                  <a16:creationId xmlns:a16="http://schemas.microsoft.com/office/drawing/2014/main" id="{C1571607-8791-FB54-138A-04027AD089CF}"/>
                </a:ext>
              </a:extLst>
            </p:cNvPr>
            <p:cNvSpPr/>
            <p:nvPr/>
          </p:nvSpPr>
          <p:spPr>
            <a:xfrm>
              <a:off x="7589738" y="626103"/>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03" name="Freeform: Shape 8202">
              <a:extLst>
                <a:ext uri="{FF2B5EF4-FFF2-40B4-BE49-F238E27FC236}">
                  <a16:creationId xmlns:a16="http://schemas.microsoft.com/office/drawing/2014/main" id="{17CA6BBE-36E6-71E0-516C-10DC8762DB02}"/>
                </a:ext>
              </a:extLst>
            </p:cNvPr>
            <p:cNvSpPr/>
            <p:nvPr/>
          </p:nvSpPr>
          <p:spPr>
            <a:xfrm>
              <a:off x="7586487" y="632310"/>
              <a:ext cx="110189" cy="182880"/>
            </a:xfrm>
            <a:custGeom>
              <a:avLst/>
              <a:gdLst>
                <a:gd name="connsiteX0" fmla="*/ 106645 w 110189"/>
                <a:gd name="connsiteY0" fmla="*/ 0 h 182880"/>
                <a:gd name="connsiteX1" fmla="*/ 110189 w 110189"/>
                <a:gd name="connsiteY1" fmla="*/ 9834 h 182880"/>
                <a:gd name="connsiteX2" fmla="*/ 110189 w 110189"/>
                <a:gd name="connsiteY2" fmla="*/ 142028 h 182880"/>
                <a:gd name="connsiteX3" fmla="*/ 106645 w 110189"/>
                <a:gd name="connsiteY3" fmla="*/ 139707 h 182880"/>
                <a:gd name="connsiteX4" fmla="*/ 40735 w 110189"/>
                <a:gd name="connsiteY4" fmla="*/ 182880 h 182880"/>
                <a:gd name="connsiteX5" fmla="*/ 65911 w 110189"/>
                <a:gd name="connsiteY5" fmla="*/ 113026 h 182880"/>
                <a:gd name="connsiteX6" fmla="*/ 0 w 110189"/>
                <a:gd name="connsiteY6" fmla="*/ 69854 h 182880"/>
                <a:gd name="connsiteX7" fmla="*/ 81470 w 110189"/>
                <a:gd name="connsiteY7" fmla="*/ 69854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9" h="182880">
                  <a:moveTo>
                    <a:pt x="106645" y="0"/>
                  </a:moveTo>
                  <a:lnTo>
                    <a:pt x="110189" y="9834"/>
                  </a:lnTo>
                  <a:lnTo>
                    <a:pt x="110189" y="142028"/>
                  </a:lnTo>
                  <a:lnTo>
                    <a:pt x="106645" y="139707"/>
                  </a:lnTo>
                  <a:lnTo>
                    <a:pt x="40735" y="182880"/>
                  </a:lnTo>
                  <a:lnTo>
                    <a:pt x="65911" y="113026"/>
                  </a:lnTo>
                  <a:lnTo>
                    <a:pt x="0" y="69854"/>
                  </a:lnTo>
                  <a:lnTo>
                    <a:pt x="81470" y="69854"/>
                  </a:lnTo>
                  <a:close/>
                </a:path>
              </a:pathLst>
            </a:custGeom>
            <a:solidFill>
              <a:srgbClr val="00A54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grpSp>
      <p:pic>
        <p:nvPicPr>
          <p:cNvPr id="8204" name="Picture 8203">
            <a:extLst>
              <a:ext uri="{FF2B5EF4-FFF2-40B4-BE49-F238E27FC236}">
                <a16:creationId xmlns:a16="http://schemas.microsoft.com/office/drawing/2014/main" id="{614778FF-042A-DB69-93F9-AFE1C485B59B}"/>
              </a:ext>
            </a:extLst>
          </p:cNvPr>
          <p:cNvPicPr>
            <a:picLocks noChangeAspect="1"/>
          </p:cNvPicPr>
          <p:nvPr/>
        </p:nvPicPr>
        <p:blipFill>
          <a:blip r:embed="rId16"/>
          <a:stretch>
            <a:fillRect/>
          </a:stretch>
        </p:blipFill>
        <p:spPr>
          <a:xfrm>
            <a:off x="9743007" y="875790"/>
            <a:ext cx="1744731" cy="344131"/>
          </a:xfrm>
          <a:prstGeom prst="rect">
            <a:avLst/>
          </a:prstGeom>
        </p:spPr>
      </p:pic>
      <p:sp>
        <p:nvSpPr>
          <p:cNvPr id="8207" name="Star: 5 Points 373">
            <a:extLst>
              <a:ext uri="{FF2B5EF4-FFF2-40B4-BE49-F238E27FC236}">
                <a16:creationId xmlns:a16="http://schemas.microsoft.com/office/drawing/2014/main" id="{9A11583D-4645-B940-C37D-160EAA65D92B}"/>
              </a:ext>
            </a:extLst>
          </p:cNvPr>
          <p:cNvSpPr/>
          <p:nvPr/>
        </p:nvSpPr>
        <p:spPr>
          <a:xfrm>
            <a:off x="9524919" y="1693933"/>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08" name="Star: 5 Points 374">
            <a:extLst>
              <a:ext uri="{FF2B5EF4-FFF2-40B4-BE49-F238E27FC236}">
                <a16:creationId xmlns:a16="http://schemas.microsoft.com/office/drawing/2014/main" id="{ACC6D414-BFBD-17A6-00C6-FB7DC6B43642}"/>
              </a:ext>
            </a:extLst>
          </p:cNvPr>
          <p:cNvSpPr/>
          <p:nvPr/>
        </p:nvSpPr>
        <p:spPr>
          <a:xfrm>
            <a:off x="9811794" y="1693933"/>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09" name="Star: 5 Points 373">
            <a:extLst>
              <a:ext uri="{FF2B5EF4-FFF2-40B4-BE49-F238E27FC236}">
                <a16:creationId xmlns:a16="http://schemas.microsoft.com/office/drawing/2014/main" id="{FF5DDABB-2679-76DA-009C-DB1C9D993F70}"/>
              </a:ext>
            </a:extLst>
          </p:cNvPr>
          <p:cNvSpPr/>
          <p:nvPr/>
        </p:nvSpPr>
        <p:spPr>
          <a:xfrm>
            <a:off x="9530946" y="2060450"/>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10" name="Star: 5 Points 374">
            <a:extLst>
              <a:ext uri="{FF2B5EF4-FFF2-40B4-BE49-F238E27FC236}">
                <a16:creationId xmlns:a16="http://schemas.microsoft.com/office/drawing/2014/main" id="{41987A67-C184-B723-9EFD-EF01379EF7C0}"/>
              </a:ext>
            </a:extLst>
          </p:cNvPr>
          <p:cNvSpPr/>
          <p:nvPr/>
        </p:nvSpPr>
        <p:spPr>
          <a:xfrm>
            <a:off x="9817821" y="2060450"/>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12" name="Star: 5 Points 377">
            <a:extLst>
              <a:ext uri="{FF2B5EF4-FFF2-40B4-BE49-F238E27FC236}">
                <a16:creationId xmlns:a16="http://schemas.microsoft.com/office/drawing/2014/main" id="{D813942A-7009-17EC-9788-D43AB2FC9D98}"/>
              </a:ext>
            </a:extLst>
          </p:cNvPr>
          <p:cNvSpPr/>
          <p:nvPr/>
        </p:nvSpPr>
        <p:spPr>
          <a:xfrm>
            <a:off x="10672403" y="2060450"/>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13" name="Star: 5 Points 373">
            <a:extLst>
              <a:ext uri="{FF2B5EF4-FFF2-40B4-BE49-F238E27FC236}">
                <a16:creationId xmlns:a16="http://schemas.microsoft.com/office/drawing/2014/main" id="{DB342F92-F041-D789-5D0E-3882F8085812}"/>
              </a:ext>
            </a:extLst>
          </p:cNvPr>
          <p:cNvSpPr/>
          <p:nvPr/>
        </p:nvSpPr>
        <p:spPr>
          <a:xfrm>
            <a:off x="9524919" y="2429022"/>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14" name="Star: 5 Points 374">
            <a:extLst>
              <a:ext uri="{FF2B5EF4-FFF2-40B4-BE49-F238E27FC236}">
                <a16:creationId xmlns:a16="http://schemas.microsoft.com/office/drawing/2014/main" id="{DD09E79D-EAC2-1657-3C28-FF37532C7324}"/>
              </a:ext>
            </a:extLst>
          </p:cNvPr>
          <p:cNvSpPr/>
          <p:nvPr/>
        </p:nvSpPr>
        <p:spPr>
          <a:xfrm>
            <a:off x="9811794" y="2429022"/>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15" name="Star: 5 Points 375">
            <a:extLst>
              <a:ext uri="{FF2B5EF4-FFF2-40B4-BE49-F238E27FC236}">
                <a16:creationId xmlns:a16="http://schemas.microsoft.com/office/drawing/2014/main" id="{44B24D88-9F77-30E2-62CC-52A40AF337C2}"/>
              </a:ext>
            </a:extLst>
          </p:cNvPr>
          <p:cNvSpPr/>
          <p:nvPr/>
        </p:nvSpPr>
        <p:spPr>
          <a:xfrm>
            <a:off x="10105872" y="2429022"/>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17" name="Star: 5 Points 373">
            <a:extLst>
              <a:ext uri="{FF2B5EF4-FFF2-40B4-BE49-F238E27FC236}">
                <a16:creationId xmlns:a16="http://schemas.microsoft.com/office/drawing/2014/main" id="{53184EDA-3D97-6279-64B6-CDD5B8D59D92}"/>
              </a:ext>
            </a:extLst>
          </p:cNvPr>
          <p:cNvSpPr/>
          <p:nvPr/>
        </p:nvSpPr>
        <p:spPr>
          <a:xfrm>
            <a:off x="9530946" y="2784764"/>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18" name="Star: 5 Points 374">
            <a:extLst>
              <a:ext uri="{FF2B5EF4-FFF2-40B4-BE49-F238E27FC236}">
                <a16:creationId xmlns:a16="http://schemas.microsoft.com/office/drawing/2014/main" id="{302E741C-DDC7-1EAE-3822-7C18C938E450}"/>
              </a:ext>
            </a:extLst>
          </p:cNvPr>
          <p:cNvSpPr/>
          <p:nvPr/>
        </p:nvSpPr>
        <p:spPr>
          <a:xfrm>
            <a:off x="9817821" y="2784764"/>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19" name="Star: 5 Points 375">
            <a:extLst>
              <a:ext uri="{FF2B5EF4-FFF2-40B4-BE49-F238E27FC236}">
                <a16:creationId xmlns:a16="http://schemas.microsoft.com/office/drawing/2014/main" id="{9F22449F-D4B3-1E38-7CBE-9483D330CFDE}"/>
              </a:ext>
            </a:extLst>
          </p:cNvPr>
          <p:cNvSpPr/>
          <p:nvPr/>
        </p:nvSpPr>
        <p:spPr>
          <a:xfrm>
            <a:off x="10111899" y="2784764"/>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20" name="Star: 5 Points 373">
            <a:extLst>
              <a:ext uri="{FF2B5EF4-FFF2-40B4-BE49-F238E27FC236}">
                <a16:creationId xmlns:a16="http://schemas.microsoft.com/office/drawing/2014/main" id="{C8B5AA47-F41D-C155-7493-E383079AFB29}"/>
              </a:ext>
            </a:extLst>
          </p:cNvPr>
          <p:cNvSpPr/>
          <p:nvPr/>
        </p:nvSpPr>
        <p:spPr>
          <a:xfrm>
            <a:off x="9530946" y="3149192"/>
            <a:ext cx="213289" cy="184058"/>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21" name="Star: 5 Points 376">
            <a:extLst>
              <a:ext uri="{FF2B5EF4-FFF2-40B4-BE49-F238E27FC236}">
                <a16:creationId xmlns:a16="http://schemas.microsoft.com/office/drawing/2014/main" id="{B2010E40-CECB-186D-BE9A-29F1963DE046}"/>
              </a:ext>
            </a:extLst>
          </p:cNvPr>
          <p:cNvSpPr/>
          <p:nvPr/>
        </p:nvSpPr>
        <p:spPr>
          <a:xfrm>
            <a:off x="10391917" y="3149192"/>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22" name="Star: 5 Points 377">
            <a:extLst>
              <a:ext uri="{FF2B5EF4-FFF2-40B4-BE49-F238E27FC236}">
                <a16:creationId xmlns:a16="http://schemas.microsoft.com/office/drawing/2014/main" id="{0BE5D817-294E-CF4B-EB58-37D1CA668B0A}"/>
              </a:ext>
            </a:extLst>
          </p:cNvPr>
          <p:cNvSpPr/>
          <p:nvPr/>
        </p:nvSpPr>
        <p:spPr>
          <a:xfrm>
            <a:off x="10672403" y="3149192"/>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23" name="Star: 5 Points 377">
            <a:extLst>
              <a:ext uri="{FF2B5EF4-FFF2-40B4-BE49-F238E27FC236}">
                <a16:creationId xmlns:a16="http://schemas.microsoft.com/office/drawing/2014/main" id="{CB9494A8-066D-A562-8D02-0A728AE89ED0}"/>
              </a:ext>
            </a:extLst>
          </p:cNvPr>
          <p:cNvSpPr/>
          <p:nvPr/>
        </p:nvSpPr>
        <p:spPr>
          <a:xfrm>
            <a:off x="11237232" y="1702258"/>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24" name="Star: 5 Points 376">
            <a:extLst>
              <a:ext uri="{FF2B5EF4-FFF2-40B4-BE49-F238E27FC236}">
                <a16:creationId xmlns:a16="http://schemas.microsoft.com/office/drawing/2014/main" id="{0BD41016-08E6-5826-A91E-FD52F78442CC}"/>
              </a:ext>
            </a:extLst>
          </p:cNvPr>
          <p:cNvSpPr/>
          <p:nvPr/>
        </p:nvSpPr>
        <p:spPr>
          <a:xfrm>
            <a:off x="10962773" y="2068775"/>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25" name="Star: 5 Points 377">
            <a:extLst>
              <a:ext uri="{FF2B5EF4-FFF2-40B4-BE49-F238E27FC236}">
                <a16:creationId xmlns:a16="http://schemas.microsoft.com/office/drawing/2014/main" id="{C9F3144A-C0D1-083C-268A-DF3423DEBA70}"/>
              </a:ext>
            </a:extLst>
          </p:cNvPr>
          <p:cNvSpPr/>
          <p:nvPr/>
        </p:nvSpPr>
        <p:spPr>
          <a:xfrm>
            <a:off x="11243259" y="2068775"/>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27" name="Star: 5 Points 377">
            <a:extLst>
              <a:ext uri="{FF2B5EF4-FFF2-40B4-BE49-F238E27FC236}">
                <a16:creationId xmlns:a16="http://schemas.microsoft.com/office/drawing/2014/main" id="{6A519B6E-630E-560C-6BFF-D04DF08E6834}"/>
              </a:ext>
            </a:extLst>
          </p:cNvPr>
          <p:cNvSpPr/>
          <p:nvPr/>
        </p:nvSpPr>
        <p:spPr>
          <a:xfrm>
            <a:off x="11237232" y="2437347"/>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32" name="Star: 5 Points 377">
            <a:extLst>
              <a:ext uri="{FF2B5EF4-FFF2-40B4-BE49-F238E27FC236}">
                <a16:creationId xmlns:a16="http://schemas.microsoft.com/office/drawing/2014/main" id="{D75604C5-FD06-9395-8388-DAB861D8321D}"/>
              </a:ext>
            </a:extLst>
          </p:cNvPr>
          <p:cNvSpPr/>
          <p:nvPr/>
        </p:nvSpPr>
        <p:spPr>
          <a:xfrm>
            <a:off x="11243259" y="2793089"/>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33" name="Star: 5 Points 376">
            <a:extLst>
              <a:ext uri="{FF2B5EF4-FFF2-40B4-BE49-F238E27FC236}">
                <a16:creationId xmlns:a16="http://schemas.microsoft.com/office/drawing/2014/main" id="{DE52FC12-7F4D-7524-165E-15094FAAE70E}"/>
              </a:ext>
            </a:extLst>
          </p:cNvPr>
          <p:cNvSpPr/>
          <p:nvPr/>
        </p:nvSpPr>
        <p:spPr>
          <a:xfrm>
            <a:off x="10962773" y="3157517"/>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34" name="Star: 5 Points 377">
            <a:extLst>
              <a:ext uri="{FF2B5EF4-FFF2-40B4-BE49-F238E27FC236}">
                <a16:creationId xmlns:a16="http://schemas.microsoft.com/office/drawing/2014/main" id="{F6BF062F-CE23-0B18-32B1-09248EFD4301}"/>
              </a:ext>
            </a:extLst>
          </p:cNvPr>
          <p:cNvSpPr/>
          <p:nvPr/>
        </p:nvSpPr>
        <p:spPr>
          <a:xfrm>
            <a:off x="11243259" y="3157517"/>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35" name="Star: 5 Points 373">
            <a:extLst>
              <a:ext uri="{FF2B5EF4-FFF2-40B4-BE49-F238E27FC236}">
                <a16:creationId xmlns:a16="http://schemas.microsoft.com/office/drawing/2014/main" id="{FCB5C083-C0A9-4EE0-C2E7-768771500220}"/>
              </a:ext>
            </a:extLst>
          </p:cNvPr>
          <p:cNvSpPr/>
          <p:nvPr/>
        </p:nvSpPr>
        <p:spPr>
          <a:xfrm>
            <a:off x="9541113" y="1307369"/>
            <a:ext cx="213289" cy="184058"/>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36" name="Star: 5 Points 375">
            <a:extLst>
              <a:ext uri="{FF2B5EF4-FFF2-40B4-BE49-F238E27FC236}">
                <a16:creationId xmlns:a16="http://schemas.microsoft.com/office/drawing/2014/main" id="{2E4C439D-EDB7-D744-B677-9B9E18963447}"/>
              </a:ext>
            </a:extLst>
          </p:cNvPr>
          <p:cNvSpPr/>
          <p:nvPr/>
        </p:nvSpPr>
        <p:spPr>
          <a:xfrm>
            <a:off x="10122066" y="1307369"/>
            <a:ext cx="213289" cy="184058"/>
          </a:xfrm>
          <a:prstGeom prst="star5">
            <a:avLst/>
          </a:prstGeom>
          <a:solidFill>
            <a:srgbClr val="BFBFBF"/>
          </a:solidFill>
          <a:ln>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42" name="Star: 5 Points 376">
            <a:extLst>
              <a:ext uri="{FF2B5EF4-FFF2-40B4-BE49-F238E27FC236}">
                <a16:creationId xmlns:a16="http://schemas.microsoft.com/office/drawing/2014/main" id="{497562D7-E0D8-47A9-E0E1-578CA847239A}"/>
              </a:ext>
            </a:extLst>
          </p:cNvPr>
          <p:cNvSpPr/>
          <p:nvPr/>
        </p:nvSpPr>
        <p:spPr>
          <a:xfrm>
            <a:off x="10402084" y="1307369"/>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44" name="Star: 5 Points 377">
            <a:extLst>
              <a:ext uri="{FF2B5EF4-FFF2-40B4-BE49-F238E27FC236}">
                <a16:creationId xmlns:a16="http://schemas.microsoft.com/office/drawing/2014/main" id="{4BD94C13-E3CB-BAA2-AC5E-A81397A4858B}"/>
              </a:ext>
            </a:extLst>
          </p:cNvPr>
          <p:cNvSpPr/>
          <p:nvPr/>
        </p:nvSpPr>
        <p:spPr>
          <a:xfrm>
            <a:off x="10682570" y="1307369"/>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45" name="Star: 5 Points 376">
            <a:extLst>
              <a:ext uri="{FF2B5EF4-FFF2-40B4-BE49-F238E27FC236}">
                <a16:creationId xmlns:a16="http://schemas.microsoft.com/office/drawing/2014/main" id="{F2D4A845-511E-ABBD-6869-75D905395C9D}"/>
              </a:ext>
            </a:extLst>
          </p:cNvPr>
          <p:cNvSpPr/>
          <p:nvPr/>
        </p:nvSpPr>
        <p:spPr>
          <a:xfrm>
            <a:off x="10972940" y="1315694"/>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46" name="Star: 5 Points 377">
            <a:extLst>
              <a:ext uri="{FF2B5EF4-FFF2-40B4-BE49-F238E27FC236}">
                <a16:creationId xmlns:a16="http://schemas.microsoft.com/office/drawing/2014/main" id="{FF542968-C9F9-71E4-FB1D-AEE1120FE4E8}"/>
              </a:ext>
            </a:extLst>
          </p:cNvPr>
          <p:cNvSpPr/>
          <p:nvPr/>
        </p:nvSpPr>
        <p:spPr>
          <a:xfrm>
            <a:off x="11253426" y="1315694"/>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51" name="Star: 5 Points 376">
            <a:extLst>
              <a:ext uri="{FF2B5EF4-FFF2-40B4-BE49-F238E27FC236}">
                <a16:creationId xmlns:a16="http://schemas.microsoft.com/office/drawing/2014/main" id="{39414269-7E8A-A014-95FD-6617D405325E}"/>
              </a:ext>
            </a:extLst>
          </p:cNvPr>
          <p:cNvSpPr/>
          <p:nvPr/>
        </p:nvSpPr>
        <p:spPr>
          <a:xfrm>
            <a:off x="10121598" y="1699234"/>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55" name="Star: 5 Points 376">
            <a:extLst>
              <a:ext uri="{FF2B5EF4-FFF2-40B4-BE49-F238E27FC236}">
                <a16:creationId xmlns:a16="http://schemas.microsoft.com/office/drawing/2014/main" id="{E18EBF5E-6C69-ED9F-70EF-048CC53BB503}"/>
              </a:ext>
            </a:extLst>
          </p:cNvPr>
          <p:cNvSpPr/>
          <p:nvPr/>
        </p:nvSpPr>
        <p:spPr>
          <a:xfrm>
            <a:off x="10129566" y="2063928"/>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63" name="Star: 5 Points 375">
            <a:extLst>
              <a:ext uri="{FF2B5EF4-FFF2-40B4-BE49-F238E27FC236}">
                <a16:creationId xmlns:a16="http://schemas.microsoft.com/office/drawing/2014/main" id="{97B8F440-CEC7-50B3-1AD3-6154883CB411}"/>
              </a:ext>
            </a:extLst>
          </p:cNvPr>
          <p:cNvSpPr/>
          <p:nvPr/>
        </p:nvSpPr>
        <p:spPr>
          <a:xfrm>
            <a:off x="10402847" y="2791266"/>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64" name="Star: 5 Points 374">
            <a:extLst>
              <a:ext uri="{FF2B5EF4-FFF2-40B4-BE49-F238E27FC236}">
                <a16:creationId xmlns:a16="http://schemas.microsoft.com/office/drawing/2014/main" id="{065AD973-A172-9678-D9EA-6EC5F8DBFE5B}"/>
              </a:ext>
            </a:extLst>
          </p:cNvPr>
          <p:cNvSpPr/>
          <p:nvPr/>
        </p:nvSpPr>
        <p:spPr>
          <a:xfrm>
            <a:off x="10686112" y="2800820"/>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70" name="Star: 5 Points 374">
            <a:extLst>
              <a:ext uri="{FF2B5EF4-FFF2-40B4-BE49-F238E27FC236}">
                <a16:creationId xmlns:a16="http://schemas.microsoft.com/office/drawing/2014/main" id="{DDFAB2EF-6272-1869-E910-0AC109FFF008}"/>
              </a:ext>
            </a:extLst>
          </p:cNvPr>
          <p:cNvSpPr/>
          <p:nvPr/>
        </p:nvSpPr>
        <p:spPr>
          <a:xfrm>
            <a:off x="9839191" y="3155217"/>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pic>
        <p:nvPicPr>
          <p:cNvPr id="8274" name="Picture 8273">
            <a:extLst>
              <a:ext uri="{FF2B5EF4-FFF2-40B4-BE49-F238E27FC236}">
                <a16:creationId xmlns:a16="http://schemas.microsoft.com/office/drawing/2014/main" id="{DB385690-87CE-1BBC-FDCE-F3947427B089}"/>
              </a:ext>
            </a:extLst>
          </p:cNvPr>
          <p:cNvPicPr>
            <a:picLocks noChangeAspect="1"/>
          </p:cNvPicPr>
          <p:nvPr/>
        </p:nvPicPr>
        <p:blipFill>
          <a:blip r:embed="rId17"/>
          <a:stretch>
            <a:fillRect/>
          </a:stretch>
        </p:blipFill>
        <p:spPr>
          <a:xfrm>
            <a:off x="9210111" y="884903"/>
            <a:ext cx="445323" cy="447618"/>
          </a:xfrm>
          <a:prstGeom prst="rect">
            <a:avLst/>
          </a:prstGeom>
        </p:spPr>
      </p:pic>
      <p:pic>
        <p:nvPicPr>
          <p:cNvPr id="8278" name="Picture 8277">
            <a:extLst>
              <a:ext uri="{FF2B5EF4-FFF2-40B4-BE49-F238E27FC236}">
                <a16:creationId xmlns:a16="http://schemas.microsoft.com/office/drawing/2014/main" id="{939BADDA-615E-CEE5-8B08-26C71940A3A4}"/>
              </a:ext>
            </a:extLst>
          </p:cNvPr>
          <p:cNvPicPr>
            <a:picLocks noChangeAspect="1"/>
          </p:cNvPicPr>
          <p:nvPr/>
        </p:nvPicPr>
        <p:blipFill>
          <a:blip r:embed="rId18"/>
          <a:stretch>
            <a:fillRect/>
          </a:stretch>
        </p:blipFill>
        <p:spPr>
          <a:xfrm>
            <a:off x="10371127" y="1107799"/>
            <a:ext cx="1370160" cy="143376"/>
          </a:xfrm>
          <a:prstGeom prst="rect">
            <a:avLst/>
          </a:prstGeom>
        </p:spPr>
      </p:pic>
      <p:pic>
        <p:nvPicPr>
          <p:cNvPr id="8280" name="Picture 8279">
            <a:extLst>
              <a:ext uri="{FF2B5EF4-FFF2-40B4-BE49-F238E27FC236}">
                <a16:creationId xmlns:a16="http://schemas.microsoft.com/office/drawing/2014/main" id="{7E724958-1E8A-209A-63D0-03716FCBE74B}"/>
              </a:ext>
            </a:extLst>
          </p:cNvPr>
          <p:cNvPicPr>
            <a:picLocks noChangeAspect="1"/>
          </p:cNvPicPr>
          <p:nvPr/>
        </p:nvPicPr>
        <p:blipFill>
          <a:blip r:embed="rId19"/>
          <a:stretch>
            <a:fillRect/>
          </a:stretch>
        </p:blipFill>
        <p:spPr>
          <a:xfrm>
            <a:off x="6843966" y="4211670"/>
            <a:ext cx="1638529" cy="163548"/>
          </a:xfrm>
          <a:prstGeom prst="rect">
            <a:avLst/>
          </a:prstGeom>
        </p:spPr>
      </p:pic>
      <p:pic>
        <p:nvPicPr>
          <p:cNvPr id="8282" name="Picture 8281">
            <a:extLst>
              <a:ext uri="{FF2B5EF4-FFF2-40B4-BE49-F238E27FC236}">
                <a16:creationId xmlns:a16="http://schemas.microsoft.com/office/drawing/2014/main" id="{976861D5-FAED-B13E-7E43-0564A474E1A2}"/>
              </a:ext>
            </a:extLst>
          </p:cNvPr>
          <p:cNvPicPr>
            <a:picLocks noChangeAspect="1"/>
          </p:cNvPicPr>
          <p:nvPr/>
        </p:nvPicPr>
        <p:blipFill>
          <a:blip r:embed="rId20"/>
          <a:stretch>
            <a:fillRect/>
          </a:stretch>
        </p:blipFill>
        <p:spPr>
          <a:xfrm>
            <a:off x="8447622" y="4202428"/>
            <a:ext cx="576343" cy="158799"/>
          </a:xfrm>
          <a:prstGeom prst="rect">
            <a:avLst/>
          </a:prstGeom>
        </p:spPr>
      </p:pic>
      <p:pic>
        <p:nvPicPr>
          <p:cNvPr id="8284" name="Picture 8283">
            <a:extLst>
              <a:ext uri="{FF2B5EF4-FFF2-40B4-BE49-F238E27FC236}">
                <a16:creationId xmlns:a16="http://schemas.microsoft.com/office/drawing/2014/main" id="{DEB42F75-565D-A0F7-5A03-5FEBCB06D68C}"/>
              </a:ext>
            </a:extLst>
          </p:cNvPr>
          <p:cNvPicPr>
            <a:picLocks noChangeAspect="1"/>
          </p:cNvPicPr>
          <p:nvPr/>
        </p:nvPicPr>
        <p:blipFill>
          <a:blip r:embed="rId21"/>
          <a:stretch>
            <a:fillRect/>
          </a:stretch>
        </p:blipFill>
        <p:spPr>
          <a:xfrm>
            <a:off x="4993077" y="4211670"/>
            <a:ext cx="941475" cy="178268"/>
          </a:xfrm>
          <a:prstGeom prst="rect">
            <a:avLst/>
          </a:prstGeom>
        </p:spPr>
      </p:pic>
      <p:pic>
        <p:nvPicPr>
          <p:cNvPr id="8285" name="Picture 8284">
            <a:extLst>
              <a:ext uri="{FF2B5EF4-FFF2-40B4-BE49-F238E27FC236}">
                <a16:creationId xmlns:a16="http://schemas.microsoft.com/office/drawing/2014/main" id="{2454255B-6ADB-7EBB-4DB8-D37AB51ADC43}"/>
              </a:ext>
            </a:extLst>
          </p:cNvPr>
          <p:cNvPicPr>
            <a:picLocks noChangeAspect="1"/>
          </p:cNvPicPr>
          <p:nvPr/>
        </p:nvPicPr>
        <p:blipFill>
          <a:blip r:embed="rId21"/>
          <a:stretch>
            <a:fillRect/>
          </a:stretch>
        </p:blipFill>
        <p:spPr>
          <a:xfrm>
            <a:off x="10943726" y="4223687"/>
            <a:ext cx="941475" cy="178268"/>
          </a:xfrm>
          <a:prstGeom prst="rect">
            <a:avLst/>
          </a:prstGeom>
        </p:spPr>
      </p:pic>
      <p:sp>
        <p:nvSpPr>
          <p:cNvPr id="8286" name="Star: 5 Points 375">
            <a:extLst>
              <a:ext uri="{FF2B5EF4-FFF2-40B4-BE49-F238E27FC236}">
                <a16:creationId xmlns:a16="http://schemas.microsoft.com/office/drawing/2014/main" id="{D6E1F6FC-C3FC-C9F5-2BC1-E74B3013D0E1}"/>
              </a:ext>
            </a:extLst>
          </p:cNvPr>
          <p:cNvSpPr/>
          <p:nvPr/>
        </p:nvSpPr>
        <p:spPr>
          <a:xfrm>
            <a:off x="10412274" y="2417793"/>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87" name="Title 1">
            <a:extLst>
              <a:ext uri="{FF2B5EF4-FFF2-40B4-BE49-F238E27FC236}">
                <a16:creationId xmlns:a16="http://schemas.microsoft.com/office/drawing/2014/main" id="{B9C2F960-2CD0-8F99-6B52-C00849D8454F}"/>
              </a:ext>
            </a:extLst>
          </p:cNvPr>
          <p:cNvSpPr txBox="1">
            <a:spLocks/>
          </p:cNvSpPr>
          <p:nvPr/>
        </p:nvSpPr>
        <p:spPr>
          <a:xfrm>
            <a:off x="6733433" y="887725"/>
            <a:ext cx="2966842" cy="261784"/>
          </a:xfrm>
          <a:prstGeom prst="rect">
            <a:avLst/>
          </a:prstGeom>
        </p:spPr>
        <p:txBody>
          <a:bodyPr vert="horz" lIns="0" tIns="0" rIns="0" bIns="0" rtlCol="0" anchor="t">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a:ln>
                  <a:noFill/>
                </a:ln>
                <a:solidFill>
                  <a:schemeClr val="bg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1500" b="0" i="0" u="none" strike="noStrike" kern="1200" cap="all" spc="0" normalizeH="0" baseline="0" noProof="0">
                <a:ln>
                  <a:noFill/>
                </a:ln>
                <a:solidFill>
                  <a:srgbClr val="FFFFFF"/>
                </a:solidFill>
                <a:effectLst/>
                <a:uLnTx/>
                <a:uFillTx/>
                <a:latin typeface="Ubuntu Medium"/>
                <a:ea typeface="+mj-ea"/>
                <a:cs typeface="+mj-cs"/>
              </a:rPr>
              <a:t>GEN AI for cx foundry</a:t>
            </a:r>
            <a:endParaRPr kumimoji="0" lang="en-SE" sz="1500" b="0" i="0" u="none" strike="noStrike" kern="1200" cap="all" spc="0" normalizeH="0" baseline="0" noProof="0">
              <a:ln>
                <a:noFill/>
              </a:ln>
              <a:solidFill>
                <a:srgbClr val="FFFFFF"/>
              </a:solidFill>
              <a:effectLst/>
              <a:uLnTx/>
              <a:uFillTx/>
              <a:latin typeface="Ubuntu Medium"/>
              <a:ea typeface="+mj-ea"/>
              <a:cs typeface="+mj-cs"/>
            </a:endParaRPr>
          </a:p>
        </p:txBody>
      </p:sp>
      <p:pic>
        <p:nvPicPr>
          <p:cNvPr id="8288" name="Picture 8287">
            <a:extLst>
              <a:ext uri="{FF2B5EF4-FFF2-40B4-BE49-F238E27FC236}">
                <a16:creationId xmlns:a16="http://schemas.microsoft.com/office/drawing/2014/main" id="{9A917441-0190-EDCD-9F41-DBBED074EBC5}"/>
              </a:ext>
            </a:extLst>
          </p:cNvPr>
          <p:cNvPicPr>
            <a:picLocks noChangeAspect="1"/>
          </p:cNvPicPr>
          <p:nvPr/>
        </p:nvPicPr>
        <p:blipFill>
          <a:blip r:embed="rId11"/>
          <a:stretch>
            <a:fillRect/>
          </a:stretch>
        </p:blipFill>
        <p:spPr>
          <a:xfrm>
            <a:off x="6258810" y="864932"/>
            <a:ext cx="437140" cy="385636"/>
          </a:xfrm>
          <a:prstGeom prst="rect">
            <a:avLst/>
          </a:prstGeom>
        </p:spPr>
      </p:pic>
      <p:pic>
        <p:nvPicPr>
          <p:cNvPr id="8289" name="Picture 8288">
            <a:extLst>
              <a:ext uri="{FF2B5EF4-FFF2-40B4-BE49-F238E27FC236}">
                <a16:creationId xmlns:a16="http://schemas.microsoft.com/office/drawing/2014/main" id="{FE73D310-425D-B6B3-1A35-A08447B2990A}"/>
              </a:ext>
            </a:extLst>
          </p:cNvPr>
          <p:cNvPicPr>
            <a:picLocks noChangeAspect="1"/>
          </p:cNvPicPr>
          <p:nvPr/>
        </p:nvPicPr>
        <p:blipFill>
          <a:blip r:embed="rId19"/>
          <a:stretch>
            <a:fillRect/>
          </a:stretch>
        </p:blipFill>
        <p:spPr>
          <a:xfrm>
            <a:off x="6870276" y="1090124"/>
            <a:ext cx="1638529" cy="163548"/>
          </a:xfrm>
          <a:prstGeom prst="rect">
            <a:avLst/>
          </a:prstGeom>
        </p:spPr>
      </p:pic>
      <p:sp>
        <p:nvSpPr>
          <p:cNvPr id="8290" name="Star: 5 Points 377">
            <a:extLst>
              <a:ext uri="{FF2B5EF4-FFF2-40B4-BE49-F238E27FC236}">
                <a16:creationId xmlns:a16="http://schemas.microsoft.com/office/drawing/2014/main" id="{0605B4C2-E4E6-E436-C805-B9CFFAA45F89}"/>
              </a:ext>
            </a:extLst>
          </p:cNvPr>
          <p:cNvSpPr/>
          <p:nvPr/>
        </p:nvSpPr>
        <p:spPr>
          <a:xfrm>
            <a:off x="8112234" y="1712905"/>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91" name="Star: 5 Points 377">
            <a:extLst>
              <a:ext uri="{FF2B5EF4-FFF2-40B4-BE49-F238E27FC236}">
                <a16:creationId xmlns:a16="http://schemas.microsoft.com/office/drawing/2014/main" id="{123F835C-46D3-00C3-A902-0A104F8D668E}"/>
              </a:ext>
            </a:extLst>
          </p:cNvPr>
          <p:cNvSpPr/>
          <p:nvPr/>
        </p:nvSpPr>
        <p:spPr>
          <a:xfrm>
            <a:off x="8110209" y="2074880"/>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92" name="Star: 5 Points 377">
            <a:extLst>
              <a:ext uri="{FF2B5EF4-FFF2-40B4-BE49-F238E27FC236}">
                <a16:creationId xmlns:a16="http://schemas.microsoft.com/office/drawing/2014/main" id="{EE1E6083-2D10-AE89-622B-ADAB6DC144FD}"/>
              </a:ext>
            </a:extLst>
          </p:cNvPr>
          <p:cNvSpPr/>
          <p:nvPr/>
        </p:nvSpPr>
        <p:spPr>
          <a:xfrm>
            <a:off x="8127776" y="2448591"/>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298" name="Star: 5 Points 377">
            <a:extLst>
              <a:ext uri="{FF2B5EF4-FFF2-40B4-BE49-F238E27FC236}">
                <a16:creationId xmlns:a16="http://schemas.microsoft.com/office/drawing/2014/main" id="{D7955C9E-2ECC-A858-EB96-09CA36BC8C96}"/>
              </a:ext>
            </a:extLst>
          </p:cNvPr>
          <p:cNvSpPr/>
          <p:nvPr/>
        </p:nvSpPr>
        <p:spPr>
          <a:xfrm>
            <a:off x="8145705" y="2803282"/>
            <a:ext cx="213289" cy="182880"/>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pic>
        <p:nvPicPr>
          <p:cNvPr id="8300" name="Picture 8299">
            <a:extLst>
              <a:ext uri="{FF2B5EF4-FFF2-40B4-BE49-F238E27FC236}">
                <a16:creationId xmlns:a16="http://schemas.microsoft.com/office/drawing/2014/main" id="{232589A1-D898-5209-EDD7-827027206C22}"/>
              </a:ext>
            </a:extLst>
          </p:cNvPr>
          <p:cNvPicPr>
            <a:picLocks noChangeAspect="1"/>
          </p:cNvPicPr>
          <p:nvPr/>
        </p:nvPicPr>
        <p:blipFill>
          <a:blip r:embed="rId22"/>
          <a:stretch>
            <a:fillRect/>
          </a:stretch>
        </p:blipFill>
        <p:spPr>
          <a:xfrm>
            <a:off x="4543032" y="577146"/>
            <a:ext cx="418181" cy="390146"/>
          </a:xfrm>
          <a:prstGeom prst="rect">
            <a:avLst/>
          </a:prstGeom>
        </p:spPr>
      </p:pic>
      <p:sp>
        <p:nvSpPr>
          <p:cNvPr id="8301" name="Star: 5 Points 374">
            <a:extLst>
              <a:ext uri="{FF2B5EF4-FFF2-40B4-BE49-F238E27FC236}">
                <a16:creationId xmlns:a16="http://schemas.microsoft.com/office/drawing/2014/main" id="{CCA65E42-CBFF-3F75-2720-F3C0584234E2}"/>
              </a:ext>
            </a:extLst>
          </p:cNvPr>
          <p:cNvSpPr/>
          <p:nvPr/>
        </p:nvSpPr>
        <p:spPr>
          <a:xfrm>
            <a:off x="5181878" y="1726213"/>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02" name="Star: 5 Points 374">
            <a:extLst>
              <a:ext uri="{FF2B5EF4-FFF2-40B4-BE49-F238E27FC236}">
                <a16:creationId xmlns:a16="http://schemas.microsoft.com/office/drawing/2014/main" id="{477B3A8A-A6E8-52A6-E600-85B673C9862A}"/>
              </a:ext>
            </a:extLst>
          </p:cNvPr>
          <p:cNvSpPr/>
          <p:nvPr/>
        </p:nvSpPr>
        <p:spPr>
          <a:xfrm>
            <a:off x="5184666" y="2092906"/>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03" name="Star: 5 Points 374">
            <a:extLst>
              <a:ext uri="{FF2B5EF4-FFF2-40B4-BE49-F238E27FC236}">
                <a16:creationId xmlns:a16="http://schemas.microsoft.com/office/drawing/2014/main" id="{B017225F-868D-8E1E-77B8-4AC88C2C89C0}"/>
              </a:ext>
            </a:extLst>
          </p:cNvPr>
          <p:cNvSpPr/>
          <p:nvPr/>
        </p:nvSpPr>
        <p:spPr>
          <a:xfrm>
            <a:off x="5190328" y="2464502"/>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8304" name="Star: 5 Points 374">
            <a:extLst>
              <a:ext uri="{FF2B5EF4-FFF2-40B4-BE49-F238E27FC236}">
                <a16:creationId xmlns:a16="http://schemas.microsoft.com/office/drawing/2014/main" id="{B3245CEC-BD98-CB20-A39F-18CDE4DDE912}"/>
              </a:ext>
            </a:extLst>
          </p:cNvPr>
          <p:cNvSpPr/>
          <p:nvPr/>
        </p:nvSpPr>
        <p:spPr>
          <a:xfrm>
            <a:off x="5193116" y="2831195"/>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pic>
        <p:nvPicPr>
          <p:cNvPr id="8305" name="Picture 8304">
            <a:extLst>
              <a:ext uri="{FF2B5EF4-FFF2-40B4-BE49-F238E27FC236}">
                <a16:creationId xmlns:a16="http://schemas.microsoft.com/office/drawing/2014/main" id="{506A863A-4133-752B-FE5E-69DC92568071}"/>
              </a:ext>
            </a:extLst>
          </p:cNvPr>
          <p:cNvPicPr>
            <a:picLocks noChangeAspect="1"/>
          </p:cNvPicPr>
          <p:nvPr/>
        </p:nvPicPr>
        <p:blipFill>
          <a:blip r:embed="rId20"/>
          <a:stretch>
            <a:fillRect/>
          </a:stretch>
        </p:blipFill>
        <p:spPr>
          <a:xfrm>
            <a:off x="8463461" y="1101904"/>
            <a:ext cx="576343" cy="158799"/>
          </a:xfrm>
          <a:prstGeom prst="rect">
            <a:avLst/>
          </a:prstGeom>
        </p:spPr>
      </p:pic>
      <p:pic>
        <p:nvPicPr>
          <p:cNvPr id="3" name="Picture 2">
            <a:extLst>
              <a:ext uri="{FF2B5EF4-FFF2-40B4-BE49-F238E27FC236}">
                <a16:creationId xmlns:a16="http://schemas.microsoft.com/office/drawing/2014/main" id="{528A78C0-8B3C-F7BF-EDFF-CEE82129AAF0}"/>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0572909" y="107616"/>
            <a:ext cx="622300" cy="622300"/>
          </a:xfrm>
          <a:prstGeom prst="rect">
            <a:avLst/>
          </a:prstGeom>
        </p:spPr>
      </p:pic>
      <p:sp>
        <p:nvSpPr>
          <p:cNvPr id="4" name="Star: 5 Points 374">
            <a:extLst>
              <a:ext uri="{FF2B5EF4-FFF2-40B4-BE49-F238E27FC236}">
                <a16:creationId xmlns:a16="http://schemas.microsoft.com/office/drawing/2014/main" id="{375909EF-F162-3B1B-E6DB-681E3EE9706B}"/>
              </a:ext>
            </a:extLst>
          </p:cNvPr>
          <p:cNvSpPr/>
          <p:nvPr/>
        </p:nvSpPr>
        <p:spPr>
          <a:xfrm>
            <a:off x="10679214" y="2431369"/>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32" name="Star: 5 Points 374">
            <a:extLst>
              <a:ext uri="{FF2B5EF4-FFF2-40B4-BE49-F238E27FC236}">
                <a16:creationId xmlns:a16="http://schemas.microsoft.com/office/drawing/2014/main" id="{C82D66E8-1809-1FAE-382B-04DC7D60CE35}"/>
              </a:ext>
            </a:extLst>
          </p:cNvPr>
          <p:cNvSpPr/>
          <p:nvPr/>
        </p:nvSpPr>
        <p:spPr>
          <a:xfrm>
            <a:off x="10970504" y="2426544"/>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33" name="Star: 5 Points 374">
            <a:extLst>
              <a:ext uri="{FF2B5EF4-FFF2-40B4-BE49-F238E27FC236}">
                <a16:creationId xmlns:a16="http://schemas.microsoft.com/office/drawing/2014/main" id="{0E171607-D275-8814-BFA6-D35D2C057339}"/>
              </a:ext>
            </a:extLst>
          </p:cNvPr>
          <p:cNvSpPr/>
          <p:nvPr/>
        </p:nvSpPr>
        <p:spPr>
          <a:xfrm>
            <a:off x="10961211" y="2809564"/>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34" name="Star: 5 Points 373">
            <a:extLst>
              <a:ext uri="{FF2B5EF4-FFF2-40B4-BE49-F238E27FC236}">
                <a16:creationId xmlns:a16="http://schemas.microsoft.com/office/drawing/2014/main" id="{6C52D838-7F1B-79DE-76A7-AC61FD4CACEE}"/>
              </a:ext>
            </a:extLst>
          </p:cNvPr>
          <p:cNvSpPr/>
          <p:nvPr/>
        </p:nvSpPr>
        <p:spPr>
          <a:xfrm>
            <a:off x="10388844" y="1704852"/>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35" name="Star: 5 Points 374">
            <a:extLst>
              <a:ext uri="{FF2B5EF4-FFF2-40B4-BE49-F238E27FC236}">
                <a16:creationId xmlns:a16="http://schemas.microsoft.com/office/drawing/2014/main" id="{3761F6DE-4555-517C-0AC9-1B66DA24AF06}"/>
              </a:ext>
            </a:extLst>
          </p:cNvPr>
          <p:cNvSpPr/>
          <p:nvPr/>
        </p:nvSpPr>
        <p:spPr>
          <a:xfrm>
            <a:off x="10675719" y="1704852"/>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36" name="Star: 5 Points 376">
            <a:extLst>
              <a:ext uri="{FF2B5EF4-FFF2-40B4-BE49-F238E27FC236}">
                <a16:creationId xmlns:a16="http://schemas.microsoft.com/office/drawing/2014/main" id="{7F5EB85C-8F2C-F9B6-5FED-2C466B059F9F}"/>
              </a:ext>
            </a:extLst>
          </p:cNvPr>
          <p:cNvSpPr/>
          <p:nvPr/>
        </p:nvSpPr>
        <p:spPr>
          <a:xfrm>
            <a:off x="10985523" y="1710153"/>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37" name="Star: 5 Points 376">
            <a:extLst>
              <a:ext uri="{FF2B5EF4-FFF2-40B4-BE49-F238E27FC236}">
                <a16:creationId xmlns:a16="http://schemas.microsoft.com/office/drawing/2014/main" id="{D800AFA6-A545-6E3B-7957-61DCF9290546}"/>
              </a:ext>
            </a:extLst>
          </p:cNvPr>
          <p:cNvSpPr/>
          <p:nvPr/>
        </p:nvSpPr>
        <p:spPr>
          <a:xfrm>
            <a:off x="10405788" y="2056231"/>
            <a:ext cx="213289" cy="182880"/>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38" name="Star: 5 Points 373">
            <a:extLst>
              <a:ext uri="{FF2B5EF4-FFF2-40B4-BE49-F238E27FC236}">
                <a16:creationId xmlns:a16="http://schemas.microsoft.com/office/drawing/2014/main" id="{B1273CE8-2DC5-EB74-C956-ABF286B7DA64}"/>
              </a:ext>
            </a:extLst>
          </p:cNvPr>
          <p:cNvSpPr/>
          <p:nvPr/>
        </p:nvSpPr>
        <p:spPr>
          <a:xfrm>
            <a:off x="9828340" y="1316542"/>
            <a:ext cx="213289" cy="184058"/>
          </a:xfrm>
          <a:prstGeom prst="star5">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39" name="Star: 5 Points 376">
            <a:extLst>
              <a:ext uri="{FF2B5EF4-FFF2-40B4-BE49-F238E27FC236}">
                <a16:creationId xmlns:a16="http://schemas.microsoft.com/office/drawing/2014/main" id="{CC35D4AE-799E-41D5-F0B4-BBDC62ABCF7E}"/>
              </a:ext>
            </a:extLst>
          </p:cNvPr>
          <p:cNvSpPr/>
          <p:nvPr/>
        </p:nvSpPr>
        <p:spPr>
          <a:xfrm>
            <a:off x="10108358" y="3140137"/>
            <a:ext cx="213289" cy="184058"/>
          </a:xfrm>
          <a:prstGeom prst="star5">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pic>
        <p:nvPicPr>
          <p:cNvPr id="40" name="Picture 39">
            <a:extLst>
              <a:ext uri="{FF2B5EF4-FFF2-40B4-BE49-F238E27FC236}">
                <a16:creationId xmlns:a16="http://schemas.microsoft.com/office/drawing/2014/main" id="{FE5615BD-FC72-19C4-A201-89AD96D18305}"/>
              </a:ext>
            </a:extLst>
          </p:cNvPr>
          <p:cNvPicPr>
            <a:picLocks noChangeAspect="1"/>
          </p:cNvPicPr>
          <p:nvPr/>
        </p:nvPicPr>
        <p:blipFill>
          <a:blip r:embed="rId22"/>
          <a:stretch>
            <a:fillRect/>
          </a:stretch>
        </p:blipFill>
        <p:spPr>
          <a:xfrm>
            <a:off x="9623448" y="522496"/>
            <a:ext cx="418181" cy="390146"/>
          </a:xfrm>
          <a:prstGeom prst="rect">
            <a:avLst/>
          </a:prstGeom>
        </p:spPr>
      </p:pic>
    </p:spTree>
    <p:extLst>
      <p:ext uri="{BB962C8B-B14F-4D97-AF65-F5344CB8AC3E}">
        <p14:creationId xmlns:p14="http://schemas.microsoft.com/office/powerpoint/2010/main" val="1366985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E448DB1-4196-18A6-15DA-C72635C1B11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Neue Haas Grotesk Text Pro"/>
              <a:ea typeface="+mn-ea"/>
              <a:cs typeface="+mn-cs"/>
            </a:endParaRPr>
          </a:p>
        </p:txBody>
      </p:sp>
      <p:pic>
        <p:nvPicPr>
          <p:cNvPr id="4" name="Picture 3" descr="Computer script on a screen">
            <a:extLst>
              <a:ext uri="{FF2B5EF4-FFF2-40B4-BE49-F238E27FC236}">
                <a16:creationId xmlns:a16="http://schemas.microsoft.com/office/drawing/2014/main" id="{B538A75C-E5B5-4A67-9E9A-BF9C5A3BB196}"/>
              </a:ext>
            </a:extLst>
          </p:cNvPr>
          <p:cNvPicPr>
            <a:picLocks noChangeAspect="1"/>
          </p:cNvPicPr>
          <p:nvPr/>
        </p:nvPicPr>
        <p:blipFill>
          <a:blip r:embed="rId3"/>
          <a:srcRect l="2342" t="11857" r="6749" b="11535"/>
          <a:stretch/>
        </p:blipFill>
        <p:spPr>
          <a:xfrm>
            <a:off x="20" y="10"/>
            <a:ext cx="12191980" cy="6857990"/>
          </a:xfrm>
          <a:prstGeom prst="rect">
            <a:avLst/>
          </a:prstGeom>
        </p:spPr>
      </p:pic>
      <p:sp>
        <p:nvSpPr>
          <p:cNvPr id="11" name="Rectangle 10">
            <a:extLst>
              <a:ext uri="{FF2B5EF4-FFF2-40B4-BE49-F238E27FC236}">
                <a16:creationId xmlns:a16="http://schemas.microsoft.com/office/drawing/2014/main" id="{B7D064F0-6D2A-219C-C000-14ABD99ECEE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288306" y="0"/>
            <a:ext cx="4903694" cy="6858001"/>
          </a:xfrm>
          <a:prstGeom prst="rect">
            <a:avLst/>
          </a:prstGeom>
          <a:solidFill>
            <a:schemeClr val="bg1">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eue Haas Grotesk Text Pro"/>
              <a:ea typeface="+mn-ea"/>
              <a:cs typeface="+mn-cs"/>
            </a:endParaRPr>
          </a:p>
        </p:txBody>
      </p:sp>
      <p:sp>
        <p:nvSpPr>
          <p:cNvPr id="2" name="Title 1">
            <a:extLst>
              <a:ext uri="{FF2B5EF4-FFF2-40B4-BE49-F238E27FC236}">
                <a16:creationId xmlns:a16="http://schemas.microsoft.com/office/drawing/2014/main" id="{15D02F9C-D0DF-F762-02AD-B2858BB01EEA}"/>
              </a:ext>
            </a:extLst>
          </p:cNvPr>
          <p:cNvSpPr>
            <a:spLocks noGrp="1"/>
          </p:cNvSpPr>
          <p:nvPr>
            <p:ph type="ctrTitle"/>
          </p:nvPr>
        </p:nvSpPr>
        <p:spPr>
          <a:xfrm>
            <a:off x="7620001" y="822960"/>
            <a:ext cx="4286054" cy="3474720"/>
          </a:xfrm>
        </p:spPr>
        <p:txBody>
          <a:bodyPr anchor="b">
            <a:normAutofit/>
          </a:bodyPr>
          <a:lstStyle/>
          <a:p>
            <a:pPr algn="l"/>
            <a:r>
              <a:rPr lang="en-IN" sz="4800"/>
              <a:t>Getting Started with GitHub Copilot on VSCode</a:t>
            </a:r>
          </a:p>
        </p:txBody>
      </p:sp>
      <p:sp>
        <p:nvSpPr>
          <p:cNvPr id="3" name="Subtitle 2">
            <a:extLst>
              <a:ext uri="{FF2B5EF4-FFF2-40B4-BE49-F238E27FC236}">
                <a16:creationId xmlns:a16="http://schemas.microsoft.com/office/drawing/2014/main" id="{4EF482E1-6628-8E15-87FE-232EC99B44E6}"/>
              </a:ext>
            </a:extLst>
          </p:cNvPr>
          <p:cNvSpPr>
            <a:spLocks noGrp="1"/>
          </p:cNvSpPr>
          <p:nvPr>
            <p:ph type="subTitle" idx="1"/>
          </p:nvPr>
        </p:nvSpPr>
        <p:spPr>
          <a:xfrm>
            <a:off x="7620001" y="4419600"/>
            <a:ext cx="3931920" cy="1386840"/>
          </a:xfrm>
        </p:spPr>
        <p:txBody>
          <a:bodyPr anchor="t">
            <a:normAutofit/>
          </a:bodyPr>
          <a:lstStyle/>
          <a:p>
            <a:pPr algn="l"/>
            <a:r>
              <a:rPr lang="en-IN" sz="2200"/>
              <a:t>AI-powered code assistant - Write better code faster</a:t>
            </a:r>
          </a:p>
        </p:txBody>
      </p:sp>
    </p:spTree>
    <p:extLst>
      <p:ext uri="{BB962C8B-B14F-4D97-AF65-F5344CB8AC3E}">
        <p14:creationId xmlns:p14="http://schemas.microsoft.com/office/powerpoint/2010/main" val="41564950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par>
                                <p:cTn id="8" presetID="10" presetClass="entr" presetSubtype="0" fill="hold" grpId="0" nodeType="withEffect">
                                  <p:stCondLst>
                                    <p:cond delay="1500"/>
                                  </p:stCondLst>
                                  <p:iterate>
                                    <p:tmPct val="10000"/>
                                  </p:iterate>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700"/>
                                        <p:tgtEl>
                                          <p:spTgt spid="3">
                                            <p:txEl>
                                              <p:pRg st="0" end="0"/>
                                            </p:txEl>
                                          </p:spTgt>
                                        </p:tgtEl>
                                      </p:cBhvr>
                                    </p:animEffect>
                                  </p:childTnLst>
                                </p:cTn>
                              </p:par>
                              <p:par>
                                <p:cTn id="11" presetID="10" presetClass="entr" presetSubtype="0" fill="hold" grpId="1" nodeType="withEffect">
                                  <p:stCondLst>
                                    <p:cond delay="250"/>
                                  </p:stCondLst>
                                  <p:iterate>
                                    <p:tmPct val="10000"/>
                                  </p:iterate>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P spid="3" grpId="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95B79CA-1CB8-A133-67D7-E2B7AC1F94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Neue Haas Grotesk Text Pro"/>
              <a:ea typeface="+mn-ea"/>
              <a:cs typeface="+mn-cs"/>
            </a:endParaRPr>
          </a:p>
        </p:txBody>
      </p:sp>
      <p:sp>
        <p:nvSpPr>
          <p:cNvPr id="2" name="Title 1">
            <a:extLst>
              <a:ext uri="{FF2B5EF4-FFF2-40B4-BE49-F238E27FC236}">
                <a16:creationId xmlns:a16="http://schemas.microsoft.com/office/drawing/2014/main" id="{6AC84B40-15BD-F6CC-C1D8-3AF0B450A32E}"/>
              </a:ext>
            </a:extLst>
          </p:cNvPr>
          <p:cNvSpPr>
            <a:spLocks noGrp="1"/>
          </p:cNvSpPr>
          <p:nvPr>
            <p:ph type="title"/>
          </p:nvPr>
        </p:nvSpPr>
        <p:spPr>
          <a:xfrm>
            <a:off x="614678" y="1543849"/>
            <a:ext cx="4145582" cy="4638825"/>
          </a:xfrm>
        </p:spPr>
        <p:txBody>
          <a:bodyPr anchor="t">
            <a:normAutofit/>
          </a:bodyPr>
          <a:lstStyle/>
          <a:p>
            <a:r>
              <a:rPr lang="en-IN"/>
              <a:t>Introduction to GitHub Copilot</a:t>
            </a:r>
          </a:p>
        </p:txBody>
      </p:sp>
      <p:sp>
        <p:nvSpPr>
          <p:cNvPr id="3" name="Content Placeholder 2">
            <a:extLst>
              <a:ext uri="{FF2B5EF4-FFF2-40B4-BE49-F238E27FC236}">
                <a16:creationId xmlns:a16="http://schemas.microsoft.com/office/drawing/2014/main" id="{AE281576-C345-9FF1-5F51-87CA21284E1E}"/>
              </a:ext>
            </a:extLst>
          </p:cNvPr>
          <p:cNvSpPr>
            <a:spLocks noGrp="1"/>
          </p:cNvSpPr>
          <p:nvPr>
            <p:ph idx="1"/>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532120" y="1543849"/>
            <a:ext cx="5681358" cy="4818068"/>
          </a:xfrm>
        </p:spPr>
        <p:txBody>
          <a:bodyPr>
            <a:normAutofit/>
          </a:bodyPr>
          <a:lstStyle/>
          <a:p>
            <a:pPr marL="0" indent="0">
              <a:spcBef>
                <a:spcPts val="2500"/>
              </a:spcBef>
              <a:buNone/>
            </a:pPr>
            <a:r>
              <a:rPr lang="en-US" sz="1400" b="1"/>
              <a:t>Revolutionary Code Assistant</a:t>
            </a:r>
          </a:p>
          <a:p>
            <a:pPr marL="0" lvl="1" indent="0">
              <a:buNone/>
            </a:pPr>
            <a:r>
              <a:rPr lang="en-US" sz="1400"/>
              <a:t>GitHub Copilot is a revolutionary code assistant that helps developers write better code, faster, by suggesting lines of code based on what has been typed so far.</a:t>
            </a:r>
          </a:p>
          <a:p>
            <a:pPr marL="0" indent="0">
              <a:spcBef>
                <a:spcPts val="2500"/>
              </a:spcBef>
              <a:buNone/>
            </a:pPr>
            <a:r>
              <a:rPr lang="en-US" sz="1400" b="1"/>
              <a:t>Powered by GPT</a:t>
            </a:r>
          </a:p>
          <a:p>
            <a:pPr marL="0" lvl="1" indent="0">
              <a:buNone/>
            </a:pPr>
            <a:r>
              <a:rPr lang="en-US" sz="1400"/>
              <a:t>GitHub Copilot is powered by OpenAI's GPT (Generative Pre-trained Transformer) technology, which allows it to suggest lines of code with high accuracy and relevance.</a:t>
            </a:r>
          </a:p>
          <a:p>
            <a:pPr marL="0" indent="0">
              <a:spcBef>
                <a:spcPts val="2500"/>
              </a:spcBef>
              <a:buNone/>
            </a:pPr>
            <a:r>
              <a:rPr lang="en-US" sz="1400" b="1"/>
              <a:t>Multi-language Support</a:t>
            </a:r>
          </a:p>
          <a:p>
            <a:pPr marL="0" lvl="1" indent="0">
              <a:buNone/>
            </a:pPr>
            <a:r>
              <a:rPr lang="en-US" sz="1400"/>
              <a:t>GitHub Copilot supports many programming languages, including Python, Apex , Html , JavaScript, TypeScript, Ruby, Go, and more.</a:t>
            </a:r>
            <a:endParaRPr lang="en-IN" sz="1400"/>
          </a:p>
        </p:txBody>
      </p:sp>
      <p:pic>
        <p:nvPicPr>
          <p:cNvPr id="6" name="Picture 5">
            <a:extLst>
              <a:ext uri="{FF2B5EF4-FFF2-40B4-BE49-F238E27FC236}">
                <a16:creationId xmlns:a16="http://schemas.microsoft.com/office/drawing/2014/main" id="{CEC1C652-1745-A809-BCD7-03453E3F431C}"/>
              </a:ext>
            </a:extLst>
          </p:cNvPr>
          <p:cNvPicPr>
            <a:picLocks noChangeAspect="1"/>
          </p:cNvPicPr>
          <p:nvPr/>
        </p:nvPicPr>
        <p:blipFill>
          <a:blip r:embed="rId3"/>
          <a:stretch>
            <a:fillRect/>
          </a:stretch>
        </p:blipFill>
        <p:spPr>
          <a:xfrm>
            <a:off x="11369664" y="137674"/>
            <a:ext cx="425472" cy="381020"/>
          </a:xfrm>
          <a:prstGeom prst="rect">
            <a:avLst/>
          </a:prstGeom>
        </p:spPr>
      </p:pic>
    </p:spTree>
    <p:extLst>
      <p:ext uri="{BB962C8B-B14F-4D97-AF65-F5344CB8AC3E}">
        <p14:creationId xmlns:p14="http://schemas.microsoft.com/office/powerpoint/2010/main" val="33263888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Grey&quot; id=&quot;435_4&quot;&gt;&lt;standard&gt;&lt;textframe horizontalAnchor=&quot;1&quot; marginBottom=&quot;0&quot; marginLeft=&quot;0&quot; marginRight=&quot;0&quot; marginTop=&quot;0&quot; orientation=&quot;1&quot; verticalAnchor=&quot;1&quot; /&gt;&lt;font name=&quot;Ubuntu&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1_Agenda&quot; customLayoutNameBackup=&quot;1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layoutId=&quot;435_4&quot; hideSeparatingSlides=&quot;0&quot; createSections=&quot;0&quot; singleSlideId=&quot;4a985bb3-9c0f-4d30-bab0-e861f6c1f7d9&quot; backupSlideId=&quot;59f12b8f-bcfa-4c72-806d-af721da5741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137.1989&quot; /&gt;&lt;column field=&quot;responsible&quot; label=&quot;Responsible&quot; visible=&quot;1&quot; checked=&quot;1&quot; leftSpacing=&quot;10&quot; rightDistribute=&quot;1&quot; dock=&quot;1&quot; rightSpacing=&quot;137.1989&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30&quot; id=&quot;f30ff3b2-059e-47be-bfce-20f89c801ddd&quot; parentId=&quot;&quot; level=&quot;1&quot; generateAgendaSlide=&quot;1&quot; showAgendaItem=&quot;1&quot; isBreak=&quot;0&quot; topic=&quot;Part 1&quot; agendaSlideId=&quot;af0b860f-cd42-4a9e-9c99-a53635a9e083&quot; /&gt;&lt;item duration=&quot;30&quot; id=&quot;7f2c9adb-5359-438f-8174-f3799807dfb9&quot; parentId=&quot;&quot; level=&quot;1&quot; generateAgendaSlide=&quot;1&quot; showAgendaItem=&quot;1&quot; isBreak=&quot;0&quot; topic=&quot;Part 2&quot; agendaSlideId=&quot;07e6bc76-8a2b-48ad-97c4-1f85e540bbd5&quot; /&gt;&lt;item duration=&quot;30&quot; id=&quot;00ba97b5-5509-49fc-95b8-9afe1f8e54cf&quot; parentId=&quot;&quot; level=&quot;1&quot; generateAgendaSlide=&quot;1&quot; showAgendaItem=&quot;1&quot; isBreak=&quot;0&quot; topic=&quot;Part 3&quot; agendaSlideId=&quot;4d6dfe7c-00a3-4d20-aa7f-6447da594e0a&quot; /&gt;&lt;item duration=&quot;30&quot; id=&quot;d6c20a75-a816-4fd9-9cac-9e1eb824eb5f&quot; parentId=&quot;&quot; level=&quot;1&quot; generateAgendaSlide=&quot;1&quot; showAgendaItem=&quot;1&quot; isBreak=&quot;0&quot; topic=&quot;Part 4&quot; agendaSlideId=&quot;d29762e6-a410-4070-9806-5d73acff4eaf&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apgemini_2024">
  <a:themeElements>
    <a:clrScheme name="Capgemini 2024">
      <a:dk1>
        <a:sysClr val="windowText" lastClr="000000"/>
      </a:dk1>
      <a:lt1>
        <a:srgbClr val="FFFFFF"/>
      </a:lt1>
      <a:dk2>
        <a:srgbClr val="000000"/>
      </a:dk2>
      <a:lt2>
        <a:srgbClr val="F6F6F6"/>
      </a:lt2>
      <a:accent1>
        <a:srgbClr val="0070AD"/>
      </a:accent1>
      <a:accent2>
        <a:srgbClr val="12ABDB"/>
      </a:accent2>
      <a:accent3>
        <a:srgbClr val="14596B"/>
      </a:accent3>
      <a:accent4>
        <a:srgbClr val="272936"/>
      </a:accent4>
      <a:accent5>
        <a:srgbClr val="0F878A"/>
      </a:accent5>
      <a:accent6>
        <a:srgbClr val="00BFBF"/>
      </a:accent6>
      <a:hlink>
        <a:srgbClr val="00929B"/>
      </a:hlink>
      <a:folHlink>
        <a:srgbClr val="00BFBF"/>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GlobalGroup_V3.potx" id="{B261526D-0EC9-441A-90CA-285DAAE4B035}" vid="{63F816C4-3394-4A76-B8C7-355A6B6A183F}"/>
    </a:ext>
  </a:extLst>
</a:theme>
</file>

<file path=ppt/theme/theme2.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Standard-Template_2023-v1.potx" id="{FD494643-5CA5-4A4E-8B38-63F4B370A0E2}" vid="{DF26224A-05B9-471C-96D9-61DD4C0AE63C}"/>
    </a:ext>
  </a:extLst>
</a:theme>
</file>

<file path=ppt/theme/theme3.xml><?xml version="1.0" encoding="utf-8"?>
<a:theme xmlns:a="http://schemas.openxmlformats.org/drawingml/2006/main" name="1_Capgemini Invent Global 2022">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4.xml><?xml version="1.0" encoding="utf-8"?>
<a:theme xmlns:a="http://schemas.openxmlformats.org/drawingml/2006/main" name="1_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Standard-Template_2023-v1.potx" id="{FD494643-5CA5-4A4E-8B38-63F4B370A0E2}" vid="{DF26224A-05B9-471C-96D9-61DD4C0AE63C}"/>
    </a:ext>
  </a:extLst>
</a:theme>
</file>

<file path=ppt/theme/theme5.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6.xml><?xml version="1.0" encoding="utf-8"?>
<a:theme xmlns:a="http://schemas.openxmlformats.org/drawingml/2006/main" name="VanillaVTI">
  <a:themeElements>
    <a:clrScheme name="">
      <a:dk1>
        <a:srgbClr val="333333"/>
      </a:dk1>
      <a:lt1>
        <a:srgbClr val="FFFFFF"/>
      </a:lt1>
      <a:dk2>
        <a:srgbClr val="00395D"/>
      </a:dk2>
      <a:lt2>
        <a:srgbClr val="E5F7FF"/>
      </a:lt2>
      <a:accent1>
        <a:srgbClr val="008CBA"/>
      </a:accent1>
      <a:accent2>
        <a:srgbClr val="41B883"/>
      </a:accent2>
      <a:accent3>
        <a:srgbClr val="35495E"/>
      </a:accent3>
      <a:accent4>
        <a:srgbClr val="A8DADC"/>
      </a:accent4>
      <a:accent5>
        <a:srgbClr val="FADBD8"/>
      </a:accent5>
      <a:accent6>
        <a:srgbClr val="FFC300"/>
      </a:accent6>
      <a:hlink>
        <a:srgbClr val="0077B5"/>
      </a:hlink>
      <a:folHlink>
        <a:srgbClr val="005783"/>
      </a:folHlink>
    </a:clrScheme>
    <a:fontScheme name="Neue Haas">
      <a:majorFont>
        <a:latin typeface="Neue Haas Grotesk Text Pro"/>
        <a:ea typeface=""/>
        <a:cs typeface=""/>
      </a:majorFont>
      <a:minorFont>
        <a:latin typeface="Neue Haas Grotesk Tex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nillaVTI" id="{54D376C6-1C9B-4C6B-8F3C-483BB307BB05}" vid="{7690D8A9-C071-45EF-BA7A-F7FA9779B11D}"/>
    </a:ext>
  </a:extLst>
</a:theme>
</file>

<file path=ppt/theme/theme7.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6D005C7-03E4-4069-A4FB-9A9D17E8A0A1}">
  <we:reference id="wa200000729" version="3.19.222.0" store="en-US" storeType="OMEX"/>
  <we:alternateReferences>
    <we:reference id="wa200000729" version="3.19.222.0" store="WA200000729"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97f3d42c-ae31-4685-a8c5-7226a79760c4" xsi:nil="true"/>
    <lcf76f155ced4ddcb4097134ff3c332f xmlns="039dd558-f6f3-4ca8-b614-934a562590e0">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F1BAF4A8767874CB959180782B28497" ma:contentTypeVersion="18" ma:contentTypeDescription="Create a new document." ma:contentTypeScope="" ma:versionID="561665ed3c77246b9cb1c1ceddd4e8b5">
  <xsd:schema xmlns:xsd="http://www.w3.org/2001/XMLSchema" xmlns:xs="http://www.w3.org/2001/XMLSchema" xmlns:p="http://schemas.microsoft.com/office/2006/metadata/properties" xmlns:ns2="039dd558-f6f3-4ca8-b614-934a562590e0" xmlns:ns3="97f3d42c-ae31-4685-a8c5-7226a79760c4" targetNamespace="http://schemas.microsoft.com/office/2006/metadata/properties" ma:root="true" ma:fieldsID="ad9cdda5c8c1abc4f581e76ea4c54429" ns2:_="" ns3:_="">
    <xsd:import namespace="039dd558-f6f3-4ca8-b614-934a562590e0"/>
    <xsd:import namespace="97f3d42c-ae31-4685-a8c5-7226a79760c4"/>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ObjectDetectorVersions" minOccurs="0"/>
                <xsd:element ref="ns2:MediaServiceSearchProperties" minOccurs="0"/>
                <xsd:element ref="ns2:lcf76f155ced4ddcb4097134ff3c332f" minOccurs="0"/>
                <xsd:element ref="ns3:TaxCatchAll"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39dd558-f6f3-4ca8-b614-934a562590e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f3d42c-ae31-4685-a8c5-7226a79760c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539de8b2-0878-449e-a669-3817ef471566}" ma:internalName="TaxCatchAll" ma:showField="CatchAllData" ma:web="97f3d42c-ae31-4685-a8c5-7226a79760c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2AF1F47-2CE0-4188-B633-85B777435B90}">
  <ds:schemaRefs>
    <ds:schemaRef ds:uri="http://schemas.microsoft.com/sharepoint/v3/contenttype/forms"/>
  </ds:schemaRefs>
</ds:datastoreItem>
</file>

<file path=customXml/itemProps2.xml><?xml version="1.0" encoding="utf-8"?>
<ds:datastoreItem xmlns:ds="http://schemas.openxmlformats.org/officeDocument/2006/customXml" ds:itemID="{35CF69BC-1C58-4993-9117-885E0FE4F0CC}">
  <ds:schemaRefs>
    <ds:schemaRef ds:uri="http://schemas.openxmlformats.org/package/2006/metadata/core-properties"/>
    <ds:schemaRef ds:uri="http://www.w3.org/XML/1998/namespace"/>
    <ds:schemaRef ds:uri="http://purl.org/dc/terms/"/>
    <ds:schemaRef ds:uri="http://schemas.microsoft.com/office/2006/documentManagement/types"/>
    <ds:schemaRef ds:uri="http://purl.org/dc/elements/1.1/"/>
    <ds:schemaRef ds:uri="http://schemas.microsoft.com/office/infopath/2007/PartnerControls"/>
    <ds:schemaRef ds:uri="97f3d42c-ae31-4685-a8c5-7226a79760c4"/>
    <ds:schemaRef ds:uri="039dd558-f6f3-4ca8-b614-934a562590e0"/>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6F6EC0F9-5C4A-4E62-BADC-A5D92082876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39dd558-f6f3-4ca8-b614-934a562590e0"/>
    <ds:schemaRef ds:uri="97f3d42c-ae31-4685-a8c5-7226a79760c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emplate>GlobalGroup_V3</Template>
  <TotalTime>0</TotalTime>
  <Words>2546</Words>
  <Application>Microsoft Office PowerPoint</Application>
  <PresentationFormat>Widescreen</PresentationFormat>
  <Paragraphs>259</Paragraphs>
  <Slides>20</Slides>
  <Notes>7</Notes>
  <HiddenSlides>2</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20</vt:i4>
      </vt:variant>
    </vt:vector>
  </HeadingPairs>
  <TitlesOfParts>
    <vt:vector size="37" baseType="lpstr">
      <vt:lpstr>Aptos</vt:lpstr>
      <vt:lpstr>Verdana</vt:lpstr>
      <vt:lpstr>System Font Regular</vt:lpstr>
      <vt:lpstr>Tw Cen MT</vt:lpstr>
      <vt:lpstr>Neue Haas Grotesk Text Pro</vt:lpstr>
      <vt:lpstr>Ubuntu Light</vt:lpstr>
      <vt:lpstr>Ubuntu</vt:lpstr>
      <vt:lpstr>Wingdings</vt:lpstr>
      <vt:lpstr>Arial</vt:lpstr>
      <vt:lpstr>Ubuntu Medium</vt:lpstr>
      <vt:lpstr>1_Capgemini_2024</vt:lpstr>
      <vt:lpstr>Capgemini2021</vt:lpstr>
      <vt:lpstr>1_Capgemini Invent Global 2022</vt:lpstr>
      <vt:lpstr>1_Capgemini2021</vt:lpstr>
      <vt:lpstr>1_Capgemini Master 2021</vt:lpstr>
      <vt:lpstr>VanillaVTI</vt:lpstr>
      <vt:lpstr>think-cell Slide</vt:lpstr>
      <vt:lpstr>SALESFORCE GEN AI FOR SOFTWARE  ENGINEERING RECOMMENDATION  DCX Salesforce CoE Team May 2025</vt:lpstr>
      <vt:lpstr>PowerPoint Presentation</vt:lpstr>
      <vt:lpstr>PowerPoint Presentation</vt:lpstr>
      <vt:lpstr>OUR GEN AI FOR CX OFFER For Salesforce focuses ON both TOP Line and Bottom-Line Use Cases</vt:lpstr>
      <vt:lpstr>SALESFORCE GENAI Productivity STACK TOOLS FOR  CONNECTING TO AND CONSUMING GENAI  ACROSS THE PLATFORM (CONFIG, API, FLOW AND APEX) </vt:lpstr>
      <vt:lpstr>Leveraging Gen AI across salesforce Software lifecycle</vt:lpstr>
      <vt:lpstr>Salesforce  PRODUCTIVITY  GAINS  - recommendation</vt:lpstr>
      <vt:lpstr>Getting Started with GitHub Copilot on VSCode</vt:lpstr>
      <vt:lpstr>Introduction to GitHub Copilot</vt:lpstr>
      <vt:lpstr>Setup</vt:lpstr>
      <vt:lpstr>Capgemini procured Github Copilot for activation</vt:lpstr>
      <vt:lpstr>Client Procured Github Copilot for activation</vt:lpstr>
      <vt:lpstr>Using the Prompt in GitHub Copilot</vt:lpstr>
      <vt:lpstr>PowerPoint Presentation</vt:lpstr>
      <vt:lpstr>Agentforce for Developers Setup</vt:lpstr>
      <vt:lpstr>PowerPoint Presentation</vt:lpstr>
      <vt:lpstr>PowerPoint Presentation</vt:lpstr>
      <vt:lpstr>PowerPoint Presentation</vt:lpstr>
      <vt:lpstr>PowerPoint Presentation</vt:lpstr>
      <vt:lpstr>How to Us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bal Group Template</dc:title>
  <dc:subject/>
  <dc:creator>Capgemini;gaganvasant.naik@capgemini.com;gourav.bhardwaj@capgemini.com;pradeep.ponnathota@capgemini.com;bibin.viyyath@capgemini.com;matthew.evans@capgemini.com;rajesh.guthula@capgemini.com</dc:creator>
  <cp:lastModifiedBy>Padayachi, Prabhu</cp:lastModifiedBy>
  <cp:revision>3</cp:revision>
  <cp:lastPrinted>1999-12-31T18:30:00Z</cp:lastPrinted>
  <dcterms:created xsi:type="dcterms:W3CDTF">2024-09-26T11:17:08Z</dcterms:created>
  <dcterms:modified xsi:type="dcterms:W3CDTF">2025-06-25T15:4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1BAF4A8767874CB959180782B28497</vt:lpwstr>
  </property>
  <property fmtid="{D5CDD505-2E9C-101B-9397-08002B2CF9AE}" pid="3" name="MediaServiceImageTags">
    <vt:lpwstr/>
  </property>
</Properties>
</file>